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64" r:id="rId3"/>
    <p:sldId id="260" r:id="rId4"/>
    <p:sldId id="258" r:id="rId5"/>
    <p:sldId id="261" r:id="rId6"/>
    <p:sldId id="262" r:id="rId7"/>
    <p:sldId id="286" r:id="rId8"/>
    <p:sldId id="263" r:id="rId9"/>
    <p:sldId id="269" r:id="rId10"/>
    <p:sldId id="274" r:id="rId11"/>
    <p:sldId id="273" r:id="rId12"/>
    <p:sldId id="277" r:id="rId13"/>
    <p:sldId id="282" r:id="rId14"/>
    <p:sldId id="283" r:id="rId15"/>
    <p:sldId id="284" r:id="rId16"/>
    <p:sldId id="285" r:id="rId17"/>
    <p:sldId id="287" r:id="rId18"/>
    <p:sldId id="265" r:id="rId19"/>
    <p:sldId id="270" r:id="rId20"/>
    <p:sldId id="278" r:id="rId21"/>
    <p:sldId id="280" r:id="rId22"/>
    <p:sldId id="279" r:id="rId23"/>
    <p:sldId id="281" r:id="rId24"/>
    <p:sldId id="275" r:id="rId25"/>
    <p:sldId id="271" r:id="rId26"/>
    <p:sldId id="266" r:id="rId27"/>
    <p:sldId id="267" r:id="rId28"/>
    <p:sldId id="272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902" y="23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and\Downloads\CE520Project\VMINTEQ\acid_rain_ph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and\Downloads\CE520Project\VMINTEQ\acid_rain_ph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and\Downloads\CE520Project\VMINTEQ\acid_rain_ph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and\Downloads\CE520Project\VMINTEQ\acid_rain_ph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pH comparisons'!$F$2:$F$18</cx:f>
        <cx:lvl ptCount="17" formatCode="0.0">
          <cx:pt idx="0">10.048999999999999</cx:pt>
          <cx:pt idx="1">10.32</cx:pt>
          <cx:pt idx="2">10.093999999999999</cx:pt>
          <cx:pt idx="3">8.6820000000000004</cx:pt>
          <cx:pt idx="4">9.3550000000000004</cx:pt>
          <cx:pt idx="5">9.3699999999999992</cx:pt>
          <cx:pt idx="6">9.8230000000000004</cx:pt>
          <cx:pt idx="7">9.3000000000000007</cx:pt>
          <cx:pt idx="8">9.8919999999999995</cx:pt>
          <cx:pt idx="9">9.8190000000000008</cx:pt>
          <cx:pt idx="10">5.7359999999999998</cx:pt>
          <cx:pt idx="11">5.0049999999999999</cx:pt>
          <cx:pt idx="12">3.7309999999999999</cx:pt>
          <cx:pt idx="13">4.0579999999999998</cx:pt>
          <cx:pt idx="14">9.7330000000000005</cx:pt>
          <cx:pt idx="15">9.5359999999999996</cx:pt>
          <cx:pt idx="16">9.3399999999999999</cx:pt>
        </cx:lvl>
      </cx:numDim>
    </cx:data>
    <cx:data id="1">
      <cx:numDim type="val">
        <cx:f>'pH comparisons'!$G$2:$G$18</cx:f>
        <cx:lvl ptCount="17" formatCode="0.0">
          <cx:pt idx="0">4.1550000000000002</cx:pt>
          <cx:pt idx="1">4.3070000000000004</cx:pt>
          <cx:pt idx="2">4.1520000000000001</cx:pt>
          <cx:pt idx="3">3.9209999999999998</cx:pt>
          <cx:pt idx="4">4.0030000000000001</cx:pt>
          <cx:pt idx="5">3.9790000000000001</cx:pt>
          <cx:pt idx="6">4.1050000000000004</cx:pt>
          <cx:pt idx="7">3.9910000000000001</cx:pt>
          <cx:pt idx="8">4.0620000000000003</cx:pt>
          <cx:pt idx="9">4.0759999999999996</cx:pt>
          <cx:pt idx="10">3.907</cx:pt>
          <cx:pt idx="11">3.8929999999999998</cx:pt>
          <cx:pt idx="12">3.6080000000000001</cx:pt>
          <cx:pt idx="13">3.7589999999999999</cx:pt>
          <cx:pt idx="14">4.0259999999999998</cx:pt>
          <cx:pt idx="15">3.9900000000000002</cx:pt>
          <cx:pt idx="16">3.9590000000000001</cx:pt>
        </cx:lvl>
      </cx:numDim>
    </cx:data>
    <cx:data id="2">
      <cx:numDim type="val">
        <cx:f>'pH comparisons'!$H$2:$H$18</cx:f>
        <cx:lvl ptCount="17" formatCode="0.0">
          <cx:pt idx="0">2.73</cx:pt>
          <cx:pt idx="1">2.6419999999999999</cx:pt>
          <cx:pt idx="2">2.73</cx:pt>
          <cx:pt idx="3">2.73</cx:pt>
          <cx:pt idx="4">2.73</cx:pt>
          <cx:pt idx="5">2.73</cx:pt>
          <cx:pt idx="6">2.73</cx:pt>
          <cx:pt idx="7">2.73</cx:pt>
          <cx:pt idx="8">2.73</cx:pt>
          <cx:pt idx="9">2.73</cx:pt>
          <cx:pt idx="10">2.73</cx:pt>
          <cx:pt idx="11">2.73</cx:pt>
          <cx:pt idx="12">2.73</cx:pt>
          <cx:pt idx="13">2.8799999999999999</cx:pt>
          <cx:pt idx="14">2.6419999999999999</cx:pt>
          <cx:pt idx="15">2.5790000000000002</cx:pt>
          <cx:pt idx="16">2.73</cx:pt>
        </cx:lvl>
      </cx:numDim>
    </cx:data>
    <cx:data id="3">
      <cx:numDim type="val">
        <cx:f>'pH comparisons'!$I$2:$I$18</cx:f>
        <cx:lvl ptCount="17" formatCode="0.0">
          <cx:pt idx="0">4.0700000000000003</cx:pt>
          <cx:pt idx="1">4.1579999999999995</cx:pt>
          <cx:pt idx="2">4.2699999999999996</cx:pt>
          <cx:pt idx="3">3.77</cx:pt>
          <cx:pt idx="4">3.5699999999999998</cx:pt>
          <cx:pt idx="5">2.5699999999999998</cx:pt>
          <cx:pt idx="6">2.8699999999999997</cx:pt>
          <cx:pt idx="7">3.1700000000000004</cx:pt>
          <cx:pt idx="8">3.1700000000000004</cx:pt>
          <cx:pt idx="9">3.3699999999999997</cx:pt>
          <cx:pt idx="10">2.5699999999999998</cx:pt>
          <cx:pt idx="11">2.27</cx:pt>
          <cx:pt idx="12">4.0700000000000003</cx:pt>
          <cx:pt idx="13">2.3200000000000003</cx:pt>
          <cx:pt idx="14">2.5580000000000003</cx:pt>
          <cx:pt idx="15">3.8210000000000002</cx:pt>
          <cx:pt idx="16">3.5699999999999998</cx:pt>
        </cx:lvl>
      </cx:numDim>
    </cx:data>
  </cx:chartData>
  <cx:chart>
    <cx:title pos="t" align="ctr" overlay="1">
      <cx:tx>
        <cx:rich>
          <a:bodyPr rot="0" spcFirstLastPara="1" vertOverflow="ellipsis" vert="horz" wrap="square" lIns="0" tIns="0" rIns="0" bIns="0" anchor="ctr" anchorCtr="1"/>
          <a:lstStyle/>
          <a:p>
            <a:pPr algn="ctr">
              <a:defRPr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pP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x:rich>
      </cx:tx>
    </cx:title>
    <cx:plotArea>
      <cx:plotAreaRegion>
        <cx:series layoutId="boxWhisker" uniqueId="{E007EC47-17AA-461E-9E11-86DE4D312364}">
          <cx:tx>
            <cx:txData>
              <cx:f>'pH comparisons'!$F$1</cx:f>
              <cx:v>pH_VM_Ambient</cx:v>
            </cx:txData>
          </cx:tx>
          <cx:dataLabels/>
          <cx:dataId val="0"/>
          <cx:layoutPr>
            <cx:visibility meanLine="0" meanMarker="1" nonoutliers="0" outliers="1"/>
            <cx:statistics quartileMethod="exclusive"/>
          </cx:layoutPr>
        </cx:series>
        <cx:series layoutId="boxWhisker" uniqueId="{6E9FDD10-05A3-49CA-BF4C-BC7BD3FA3CE9}">
          <cx:tx>
            <cx:txData>
              <cx:f>'pH comparisons'!$G$1</cx:f>
              <cx:v>pH_VM_Meteoric</cx:v>
            </cx:txData>
          </cx:tx>
          <cx:dataLabels>
            <cx:txPr>
              <a:bodyPr spcFirstLastPara="1" vertOverflow="ellipsis" wrap="square" lIns="0" tIns="0" rIns="0" bIns="0" anchor="ctr" anchorCtr="1"/>
              <a:lstStyle/>
              <a:p>
                <a:pPr>
                  <a:defRPr lang="en-US" sz="600" b="0" i="0" u="none" strike="noStrike" baseline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Calibri" panose="020F0502020204030204"/>
                  </a:defRPr>
                </a:pPr>
                <a:endParaRPr lang="en-US" sz="600"/>
              </a:p>
            </cx:txPr>
          </cx:dataLabels>
          <cx:dataId val="1"/>
          <cx:layoutPr>
            <cx:visibility meanLine="0" meanMarker="1" nonoutliers="0" outliers="1"/>
            <cx:statistics quartileMethod="exclusive"/>
          </cx:layoutPr>
        </cx:series>
        <cx:series layoutId="boxWhisker" uniqueId="{589C2310-92F2-43FE-88E0-2EF2019A4A30}">
          <cx:tx>
            <cx:txData>
              <cx:f>'pH comparisons'!$H$1</cx:f>
              <cx:v>pH_VM_Polluted</cx:v>
            </cx:txData>
          </cx:tx>
          <cx:dataLabels/>
          <cx:dataId val="2"/>
          <cx:layoutPr>
            <cx:visibility meanLine="0" meanMarker="1" nonoutliers="0" outliers="1"/>
            <cx:statistics quartileMethod="exclusive"/>
          </cx:layoutPr>
        </cx:series>
        <cx:series layoutId="boxWhisker" uniqueId="{E4DE0E48-A6D6-446B-BDA6-CD1B1507913B}">
          <cx:tx>
            <cx:txData>
              <cx:f>'pH comparisons'!$I$1</cx:f>
              <cx:v>variation_pol_obs</cx:v>
            </cx:txData>
          </cx:tx>
          <cx:dataLabels/>
          <cx:dataId val="3"/>
          <cx:layoutPr>
            <cx:visibility meanLine="0" meanMarker="1" nonoutliers="0" outliers="1"/>
            <cx:statistics quartileMethod="exclusive"/>
          </cx:layoutPr>
        </cx:series>
      </cx:plotAreaRegion>
      <cx:axis id="0" hidden="1">
        <cx:catScaling gapWidth="1.5"/>
        <cx:title>
          <cx:tx>
            <cx:rich>
              <a:bodyPr spcFirstLastPara="1" vertOverflow="ellipsis" wrap="square" lIns="0" tIns="0" rIns="0" bIns="0" anchor="ctr" anchorCtr="1"/>
              <a:lstStyle/>
              <a:p>
                <a:pPr algn="ctr">
                  <a:defRPr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defRPr>
                </a:pPr>
                <a:r>
                  <a:rPr lang="en-US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rious pH</a:t>
                </a:r>
              </a:p>
            </cx:rich>
          </cx:tx>
        </cx:title>
        <cx:majorGridlines/>
        <cx:tickLabels/>
      </cx:axis>
      <cx:axis id="1">
        <cx:valScaling/>
        <cx:title>
          <cx:tx>
            <cx:rich>
              <a:bodyPr spcFirstLastPara="1" vertOverflow="ellipsis" wrap="square" lIns="0" tIns="0" rIns="0" bIns="0" anchor="ctr" anchorCtr="1"/>
              <a:lstStyle/>
              <a:p>
                <a:pPr algn="ctr">
                  <a:defRPr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defRPr>
                </a:pPr>
                <a:r>
                  <a:rPr lang="en-US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riability in pH data</a:t>
                </a:r>
              </a:p>
            </cx:rich>
          </cx:tx>
        </cx:title>
        <cx:majorGridlines/>
        <cx:minorGridlines/>
        <cx:majorTickMarks type="out"/>
        <cx:tickLabels/>
        <cx:txPr>
          <a:bodyPr rot="-60000000" spcFirstLastPara="1" vertOverflow="ellipsis" vert="horz" wrap="square" lIns="0" tIns="0" rIns="0" bIns="0" anchor="ctr" anchorCtr="1"/>
          <a:lstStyle/>
          <a:p>
            <a:pPr>
              <a:defRPr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pPr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cx:txPr>
      </cx:axis>
    </cx:plotArea>
    <cx:legend pos="r" align="ctr" overlay="0">
      <cx:txPr>
        <a:bodyPr spcFirstLastPara="1" vertOverflow="ellipsis" wrap="square" lIns="0" tIns="0" rIns="0" bIns="0" anchor="ctr" anchorCtr="1"/>
        <a:lstStyle/>
        <a:p>
          <a:pPr>
            <a:defRPr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defRPr>
          </a:pPr>
          <a:endParaRPr lang="en-US">
            <a:latin typeface="Times New Roman" panose="02020603050405020304" pitchFamily="18" charset="0"/>
            <a:cs typeface="Times New Roman" panose="02020603050405020304" pitchFamily="18" charset="0"/>
          </a:endParaRPr>
        </a:p>
      </cx:txPr>
    </cx:legend>
  </cx:chart>
  <cx:spPr>
    <a:solidFill>
      <a:schemeClr val="bg1">
        <a:lumMod val="95000"/>
      </a:schemeClr>
    </a:solidFill>
  </cx:spPr>
  <cx:clrMapOvr bg1="lt1" tx1="dk1" bg2="lt2" tx2="dk2" accent1="accent1" accent2="accent2" accent3="accent3" accent4="accent4" accent5="accent5" accent6="accent6" hlink="hlink" folHlink="folHlink"/>
</cx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600"/>
              <a:t>pH</a:t>
            </a:r>
            <a:r>
              <a:rPr lang="en-US" sz="1600" baseline="0"/>
              <a:t> value comparison Model predicted (ambient) and actual</a:t>
            </a:r>
            <a:endParaRPr lang="en-US" sz="1600"/>
          </a:p>
        </c:rich>
      </c:tx>
      <c:layout>
        <c:manualLayout>
          <c:xMode val="edge"/>
          <c:yMode val="edge"/>
          <c:x val="0.1269568930803264"/>
          <c:y val="8.826000610175474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pH comparisons'!$F$1</c:f>
              <c:strCache>
                <c:ptCount val="1"/>
                <c:pt idx="0">
                  <c:v>pH_VM_Ambien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10"/>
            <c:spPr>
              <a:noFill/>
              <a:ln w="9525">
                <a:solidFill>
                  <a:schemeClr val="accent6">
                    <a:lumMod val="50000"/>
                  </a:schemeClr>
                </a:solidFill>
              </a:ln>
              <a:effectLst/>
            </c:spPr>
          </c:marker>
          <c:trendline>
            <c:spPr>
              <a:ln w="190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36608903483257038"/>
                  <c:y val="0.39326703142790925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</c:trendlineLbl>
          </c:trendline>
          <c:xVal>
            <c:numRef>
              <c:f>'pH comparisons'!$E$2:$E$18</c:f>
              <c:numCache>
                <c:formatCode>0.0</c:formatCode>
                <c:ptCount val="17"/>
                <c:pt idx="0">
                  <c:v>6.8</c:v>
                </c:pt>
                <c:pt idx="1">
                  <c:v>6.8</c:v>
                </c:pt>
                <c:pt idx="2">
                  <c:v>7</c:v>
                </c:pt>
                <c:pt idx="3">
                  <c:v>6.5</c:v>
                </c:pt>
                <c:pt idx="4">
                  <c:v>6.3</c:v>
                </c:pt>
                <c:pt idx="5">
                  <c:v>5.3</c:v>
                </c:pt>
                <c:pt idx="6">
                  <c:v>5.6</c:v>
                </c:pt>
                <c:pt idx="7">
                  <c:v>5.9</c:v>
                </c:pt>
                <c:pt idx="8">
                  <c:v>5.9</c:v>
                </c:pt>
                <c:pt idx="9">
                  <c:v>6.1</c:v>
                </c:pt>
                <c:pt idx="10">
                  <c:v>5.3</c:v>
                </c:pt>
                <c:pt idx="11">
                  <c:v>5</c:v>
                </c:pt>
                <c:pt idx="12">
                  <c:v>6.8</c:v>
                </c:pt>
                <c:pt idx="13">
                  <c:v>5.2</c:v>
                </c:pt>
                <c:pt idx="14">
                  <c:v>5.2</c:v>
                </c:pt>
                <c:pt idx="15">
                  <c:v>6.4</c:v>
                </c:pt>
                <c:pt idx="16">
                  <c:v>6.3</c:v>
                </c:pt>
              </c:numCache>
            </c:numRef>
          </c:xVal>
          <c:yVal>
            <c:numRef>
              <c:f>'pH comparisons'!$F$2:$F$18</c:f>
              <c:numCache>
                <c:formatCode>0.0</c:formatCode>
                <c:ptCount val="17"/>
                <c:pt idx="0">
                  <c:v>10.048999999999999</c:v>
                </c:pt>
                <c:pt idx="1">
                  <c:v>10.32</c:v>
                </c:pt>
                <c:pt idx="2">
                  <c:v>10.093999999999999</c:v>
                </c:pt>
                <c:pt idx="3">
                  <c:v>8.6820000000000004</c:v>
                </c:pt>
                <c:pt idx="4">
                  <c:v>9.3550000000000004</c:v>
                </c:pt>
                <c:pt idx="5">
                  <c:v>9.3699999999999992</c:v>
                </c:pt>
                <c:pt idx="6">
                  <c:v>9.8230000000000004</c:v>
                </c:pt>
                <c:pt idx="7">
                  <c:v>9.3000000000000007</c:v>
                </c:pt>
                <c:pt idx="8">
                  <c:v>9.8919999999999995</c:v>
                </c:pt>
                <c:pt idx="9">
                  <c:v>9.8190000000000008</c:v>
                </c:pt>
                <c:pt idx="10">
                  <c:v>5.7359999999999998</c:v>
                </c:pt>
                <c:pt idx="11">
                  <c:v>5.0049999999999999</c:v>
                </c:pt>
                <c:pt idx="12">
                  <c:v>3.7309999999999999</c:v>
                </c:pt>
                <c:pt idx="13">
                  <c:v>4.0579999999999998</c:v>
                </c:pt>
                <c:pt idx="14">
                  <c:v>9.7330000000000005</c:v>
                </c:pt>
                <c:pt idx="15">
                  <c:v>9.5359999999999996</c:v>
                </c:pt>
                <c:pt idx="16">
                  <c:v>9.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D31-472E-A804-6DC7F304E0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76596735"/>
        <c:axId val="1376583007"/>
      </c:scatterChart>
      <c:valAx>
        <c:axId val="1376596735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Actual pH value</a:t>
                </a:r>
                <a:r>
                  <a:rPr lang="en-IN" baseline="0"/>
                  <a:t> in dataset</a:t>
                </a:r>
                <a:endParaRPr lang="en-I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83007"/>
        <c:crosses val="autoZero"/>
        <c:crossBetween val="midCat"/>
      </c:valAx>
      <c:valAx>
        <c:axId val="137658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VMINTEQ predicted ambient p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9673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600"/>
              <a:t>pH</a:t>
            </a:r>
            <a:r>
              <a:rPr lang="en-US" sz="1600" baseline="0"/>
              <a:t> value comparison Model predicted (meteoric) and actual</a:t>
            </a:r>
            <a:endParaRPr lang="en-US" sz="1600"/>
          </a:p>
        </c:rich>
      </c:tx>
      <c:layout>
        <c:manualLayout>
          <c:xMode val="edge"/>
          <c:yMode val="edge"/>
          <c:x val="0.1269568930803264"/>
          <c:y val="8.826000610175474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pH comparisons'!$G$1</c:f>
              <c:strCache>
                <c:ptCount val="1"/>
                <c:pt idx="0">
                  <c:v>pH_VM_Meteoric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10"/>
            <c:spPr>
              <a:noFill/>
              <a:ln w="9525">
                <a:solidFill>
                  <a:schemeClr val="accent6">
                    <a:lumMod val="50000"/>
                  </a:schemeClr>
                </a:solidFill>
              </a:ln>
              <a:effectLst/>
            </c:spPr>
          </c:marker>
          <c:trendline>
            <c:spPr>
              <a:ln w="190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35391998516272349"/>
                  <c:y val="0.29180201820085744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</c:trendlineLbl>
          </c:trendline>
          <c:xVal>
            <c:numRef>
              <c:f>'pH comparisons'!$E$2:$E$18</c:f>
              <c:numCache>
                <c:formatCode>0.0</c:formatCode>
                <c:ptCount val="17"/>
                <c:pt idx="0">
                  <c:v>6.8</c:v>
                </c:pt>
                <c:pt idx="1">
                  <c:v>6.8</c:v>
                </c:pt>
                <c:pt idx="2">
                  <c:v>7</c:v>
                </c:pt>
                <c:pt idx="3">
                  <c:v>6.5</c:v>
                </c:pt>
                <c:pt idx="4">
                  <c:v>6.3</c:v>
                </c:pt>
                <c:pt idx="5">
                  <c:v>5.3</c:v>
                </c:pt>
                <c:pt idx="6">
                  <c:v>5.6</c:v>
                </c:pt>
                <c:pt idx="7">
                  <c:v>5.9</c:v>
                </c:pt>
                <c:pt idx="8">
                  <c:v>5.9</c:v>
                </c:pt>
                <c:pt idx="9">
                  <c:v>6.1</c:v>
                </c:pt>
                <c:pt idx="10">
                  <c:v>5.3</c:v>
                </c:pt>
                <c:pt idx="11">
                  <c:v>5</c:v>
                </c:pt>
                <c:pt idx="12">
                  <c:v>6.8</c:v>
                </c:pt>
                <c:pt idx="13">
                  <c:v>5.2</c:v>
                </c:pt>
                <c:pt idx="14">
                  <c:v>5.2</c:v>
                </c:pt>
                <c:pt idx="15">
                  <c:v>6.4</c:v>
                </c:pt>
                <c:pt idx="16">
                  <c:v>6.3</c:v>
                </c:pt>
              </c:numCache>
            </c:numRef>
          </c:xVal>
          <c:yVal>
            <c:numRef>
              <c:f>'pH comparisons'!$G$2:$G$18</c:f>
              <c:numCache>
                <c:formatCode>0.0</c:formatCode>
                <c:ptCount val="17"/>
                <c:pt idx="0">
                  <c:v>4.1550000000000002</c:v>
                </c:pt>
                <c:pt idx="1">
                  <c:v>4.3070000000000004</c:v>
                </c:pt>
                <c:pt idx="2">
                  <c:v>4.1520000000000001</c:v>
                </c:pt>
                <c:pt idx="3">
                  <c:v>3.9209999999999998</c:v>
                </c:pt>
                <c:pt idx="4">
                  <c:v>4.0030000000000001</c:v>
                </c:pt>
                <c:pt idx="5">
                  <c:v>3.9790000000000001</c:v>
                </c:pt>
                <c:pt idx="6">
                  <c:v>4.1050000000000004</c:v>
                </c:pt>
                <c:pt idx="7">
                  <c:v>3.9910000000000001</c:v>
                </c:pt>
                <c:pt idx="8">
                  <c:v>4.0620000000000003</c:v>
                </c:pt>
                <c:pt idx="9">
                  <c:v>4.0759999999999996</c:v>
                </c:pt>
                <c:pt idx="10">
                  <c:v>3.907</c:v>
                </c:pt>
                <c:pt idx="11">
                  <c:v>3.8929999999999998</c:v>
                </c:pt>
                <c:pt idx="12">
                  <c:v>3.6080000000000001</c:v>
                </c:pt>
                <c:pt idx="13">
                  <c:v>3.7589999999999999</c:v>
                </c:pt>
                <c:pt idx="14">
                  <c:v>4.0259999999999998</c:v>
                </c:pt>
                <c:pt idx="15">
                  <c:v>3.99</c:v>
                </c:pt>
                <c:pt idx="16">
                  <c:v>3.959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B05-42FD-8B80-EB1836FD7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76596735"/>
        <c:axId val="1376583007"/>
      </c:scatterChart>
      <c:valAx>
        <c:axId val="1376596735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Actual pH value</a:t>
                </a:r>
                <a:r>
                  <a:rPr lang="en-IN" baseline="0"/>
                  <a:t> in dataset</a:t>
                </a:r>
                <a:endParaRPr lang="en-I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83007"/>
        <c:crosses val="autoZero"/>
        <c:crossBetween val="midCat"/>
      </c:valAx>
      <c:valAx>
        <c:axId val="137658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VMINTEQ predicted meteoric p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9673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600"/>
              <a:t>pH</a:t>
            </a:r>
            <a:r>
              <a:rPr lang="en-US" sz="1600" baseline="0"/>
              <a:t> value comparison Model predicted (polluted) and actual</a:t>
            </a:r>
            <a:endParaRPr lang="en-US" sz="16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pH comparisons'!$H$1</c:f>
              <c:strCache>
                <c:ptCount val="1"/>
                <c:pt idx="0">
                  <c:v>pH_VM_Polluted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9"/>
            <c:spPr>
              <a:noFill/>
              <a:ln w="9525">
                <a:solidFill>
                  <a:srgbClr val="002060"/>
                </a:solidFill>
              </a:ln>
              <a:effectLst/>
            </c:spPr>
          </c:marker>
          <c:trendline>
            <c:spPr>
              <a:ln w="19050" cap="rnd">
                <a:solidFill>
                  <a:srgbClr val="FF0000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4123890451449389"/>
                  <c:y val="0.16893300042234446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</c:trendlineLbl>
          </c:trendline>
          <c:xVal>
            <c:numRef>
              <c:f>'pH comparisons'!$E$2:$E$19</c:f>
              <c:numCache>
                <c:formatCode>0.0</c:formatCode>
                <c:ptCount val="17"/>
                <c:pt idx="0">
                  <c:v>6.8</c:v>
                </c:pt>
                <c:pt idx="1">
                  <c:v>6.8</c:v>
                </c:pt>
                <c:pt idx="2">
                  <c:v>7</c:v>
                </c:pt>
                <c:pt idx="3">
                  <c:v>6.5</c:v>
                </c:pt>
                <c:pt idx="4">
                  <c:v>6.3</c:v>
                </c:pt>
                <c:pt idx="5">
                  <c:v>5.3</c:v>
                </c:pt>
                <c:pt idx="6">
                  <c:v>5.6</c:v>
                </c:pt>
                <c:pt idx="7">
                  <c:v>5.9</c:v>
                </c:pt>
                <c:pt idx="8">
                  <c:v>5.9</c:v>
                </c:pt>
                <c:pt idx="9">
                  <c:v>6.1</c:v>
                </c:pt>
                <c:pt idx="10">
                  <c:v>5.3</c:v>
                </c:pt>
                <c:pt idx="11">
                  <c:v>5</c:v>
                </c:pt>
                <c:pt idx="12">
                  <c:v>6.8</c:v>
                </c:pt>
                <c:pt idx="13">
                  <c:v>5.2</c:v>
                </c:pt>
                <c:pt idx="14">
                  <c:v>5.2</c:v>
                </c:pt>
                <c:pt idx="15">
                  <c:v>6.4</c:v>
                </c:pt>
                <c:pt idx="16">
                  <c:v>6.3</c:v>
                </c:pt>
              </c:numCache>
            </c:numRef>
          </c:xVal>
          <c:yVal>
            <c:numRef>
              <c:f>'pH comparisons'!$H$2:$H$19</c:f>
              <c:numCache>
                <c:formatCode>0.0</c:formatCode>
                <c:ptCount val="17"/>
                <c:pt idx="0">
                  <c:v>2.73</c:v>
                </c:pt>
                <c:pt idx="1">
                  <c:v>2.6419999999999999</c:v>
                </c:pt>
                <c:pt idx="2">
                  <c:v>2.73</c:v>
                </c:pt>
                <c:pt idx="3">
                  <c:v>2.73</c:v>
                </c:pt>
                <c:pt idx="4">
                  <c:v>2.73</c:v>
                </c:pt>
                <c:pt idx="5">
                  <c:v>2.73</c:v>
                </c:pt>
                <c:pt idx="6">
                  <c:v>2.73</c:v>
                </c:pt>
                <c:pt idx="7">
                  <c:v>2.73</c:v>
                </c:pt>
                <c:pt idx="8">
                  <c:v>2.73</c:v>
                </c:pt>
                <c:pt idx="9">
                  <c:v>2.73</c:v>
                </c:pt>
                <c:pt idx="10">
                  <c:v>2.73</c:v>
                </c:pt>
                <c:pt idx="11">
                  <c:v>2.73</c:v>
                </c:pt>
                <c:pt idx="12">
                  <c:v>2.73</c:v>
                </c:pt>
                <c:pt idx="13">
                  <c:v>2.88</c:v>
                </c:pt>
                <c:pt idx="14">
                  <c:v>2.6419999999999999</c:v>
                </c:pt>
                <c:pt idx="15">
                  <c:v>2.5790000000000002</c:v>
                </c:pt>
                <c:pt idx="16">
                  <c:v>2.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FD6-49FC-ADD4-6633F548B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76596735"/>
        <c:axId val="1376583007"/>
      </c:scatterChart>
      <c:valAx>
        <c:axId val="1376596735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Actual pH value</a:t>
                </a:r>
                <a:r>
                  <a:rPr lang="en-IN" baseline="0"/>
                  <a:t> in dataset</a:t>
                </a:r>
                <a:endParaRPr lang="en-I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83007"/>
        <c:crosses val="autoZero"/>
        <c:crossBetween val="midCat"/>
      </c:valAx>
      <c:valAx>
        <c:axId val="137658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/>
                  <a:t>VMINTEQ</a:t>
                </a:r>
                <a:r>
                  <a:rPr lang="en-IN" baseline="0"/>
                  <a:t> </a:t>
                </a:r>
                <a:r>
                  <a:rPr lang="en-IN"/>
                  <a:t>predicted polluted p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376596735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IN"/>
              <a:t>Polluted sample variation with actual pH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'pH comparisons'!$H$1:$H$18</c:f>
              <c:numCache>
                <c:formatCode>0.0</c:formatCode>
                <c:ptCount val="18"/>
                <c:pt idx="0" formatCode="General">
                  <c:v>0</c:v>
                </c:pt>
                <c:pt idx="1">
                  <c:v>2.73</c:v>
                </c:pt>
                <c:pt idx="2">
                  <c:v>2.6419999999999999</c:v>
                </c:pt>
                <c:pt idx="3">
                  <c:v>2.73</c:v>
                </c:pt>
                <c:pt idx="4">
                  <c:v>2.73</c:v>
                </c:pt>
                <c:pt idx="5">
                  <c:v>2.73</c:v>
                </c:pt>
                <c:pt idx="6">
                  <c:v>2.73</c:v>
                </c:pt>
                <c:pt idx="7">
                  <c:v>2.73</c:v>
                </c:pt>
                <c:pt idx="8">
                  <c:v>2.73</c:v>
                </c:pt>
                <c:pt idx="9">
                  <c:v>2.73</c:v>
                </c:pt>
                <c:pt idx="10">
                  <c:v>2.73</c:v>
                </c:pt>
                <c:pt idx="11">
                  <c:v>2.73</c:v>
                </c:pt>
                <c:pt idx="12">
                  <c:v>2.73</c:v>
                </c:pt>
                <c:pt idx="13">
                  <c:v>2.73</c:v>
                </c:pt>
                <c:pt idx="14">
                  <c:v>2.88</c:v>
                </c:pt>
                <c:pt idx="15">
                  <c:v>2.6419999999999999</c:v>
                </c:pt>
                <c:pt idx="16">
                  <c:v>2.5790000000000002</c:v>
                </c:pt>
                <c:pt idx="17">
                  <c:v>2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4C-45AE-A6B7-B6721CACE0C4}"/>
            </c:ext>
          </c:extLst>
        </c:ser>
        <c:ser>
          <c:idx val="2"/>
          <c:order val="1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pH comparisons'!$I$1:$I$18</c:f>
              <c:numCache>
                <c:formatCode>0.0</c:formatCode>
                <c:ptCount val="18"/>
                <c:pt idx="0" formatCode="General">
                  <c:v>0</c:v>
                </c:pt>
                <c:pt idx="1">
                  <c:v>4.07</c:v>
                </c:pt>
                <c:pt idx="2">
                  <c:v>4.1579999999999995</c:v>
                </c:pt>
                <c:pt idx="3">
                  <c:v>4.2699999999999996</c:v>
                </c:pt>
                <c:pt idx="4">
                  <c:v>3.77</c:v>
                </c:pt>
                <c:pt idx="5">
                  <c:v>3.57</c:v>
                </c:pt>
                <c:pt idx="6">
                  <c:v>2.57</c:v>
                </c:pt>
                <c:pt idx="7">
                  <c:v>2.8699999999999997</c:v>
                </c:pt>
                <c:pt idx="8">
                  <c:v>3.1700000000000004</c:v>
                </c:pt>
                <c:pt idx="9">
                  <c:v>3.1700000000000004</c:v>
                </c:pt>
                <c:pt idx="10">
                  <c:v>3.3699999999999997</c:v>
                </c:pt>
                <c:pt idx="11">
                  <c:v>2.57</c:v>
                </c:pt>
                <c:pt idx="12">
                  <c:v>2.27</c:v>
                </c:pt>
                <c:pt idx="13">
                  <c:v>4.07</c:v>
                </c:pt>
                <c:pt idx="14">
                  <c:v>2.3200000000000003</c:v>
                </c:pt>
                <c:pt idx="15">
                  <c:v>2.5580000000000003</c:v>
                </c:pt>
                <c:pt idx="16">
                  <c:v>3.8210000000000002</c:v>
                </c:pt>
                <c:pt idx="17">
                  <c:v>3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4C-45AE-A6B7-B6721CACE0C4}"/>
            </c:ext>
          </c:extLst>
        </c:ser>
        <c:ser>
          <c:idx val="3"/>
          <c:order val="2"/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pH comparisons'!$E$1:$E$18</c:f>
              <c:numCache>
                <c:formatCode>0.0</c:formatCode>
                <c:ptCount val="18"/>
                <c:pt idx="0" formatCode="General">
                  <c:v>0</c:v>
                </c:pt>
                <c:pt idx="1">
                  <c:v>6.8</c:v>
                </c:pt>
                <c:pt idx="2">
                  <c:v>6.8</c:v>
                </c:pt>
                <c:pt idx="3">
                  <c:v>7</c:v>
                </c:pt>
                <c:pt idx="4">
                  <c:v>6.5</c:v>
                </c:pt>
                <c:pt idx="5">
                  <c:v>6.3</c:v>
                </c:pt>
                <c:pt idx="6">
                  <c:v>5.3</c:v>
                </c:pt>
                <c:pt idx="7">
                  <c:v>5.6</c:v>
                </c:pt>
                <c:pt idx="8">
                  <c:v>5.9</c:v>
                </c:pt>
                <c:pt idx="9">
                  <c:v>5.9</c:v>
                </c:pt>
                <c:pt idx="10">
                  <c:v>6.1</c:v>
                </c:pt>
                <c:pt idx="11">
                  <c:v>5.3</c:v>
                </c:pt>
                <c:pt idx="12">
                  <c:v>5</c:v>
                </c:pt>
                <c:pt idx="13">
                  <c:v>6.8</c:v>
                </c:pt>
                <c:pt idx="14">
                  <c:v>5.2</c:v>
                </c:pt>
                <c:pt idx="15">
                  <c:v>5.2</c:v>
                </c:pt>
                <c:pt idx="16">
                  <c:v>6.4</c:v>
                </c:pt>
                <c:pt idx="17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4C-45AE-A6B7-B6721CACE0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7648832"/>
        <c:axId val="547640928"/>
      </c:barChart>
      <c:catAx>
        <c:axId val="5476488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 dirty="0" smtClean="0"/>
                  <a:t>Sample serial (consider start from 2 – 18 ~ 1-17)</a:t>
                </a:r>
                <a:endParaRPr lang="en-IN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547640928"/>
        <c:crosses val="autoZero"/>
        <c:auto val="1"/>
        <c:lblAlgn val="ctr"/>
        <c:lblOffset val="100"/>
        <c:noMultiLvlLbl val="0"/>
      </c:catAx>
      <c:valAx>
        <c:axId val="547640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IN" dirty="0" smtClean="0"/>
                  <a:t>pH intensity</a:t>
                </a:r>
                <a:endParaRPr lang="en-IN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547648832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0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baseline="0"/>
    <cs:bodyPr rot="-60000000" vert="horz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65000"/>
          <a:lumOff val="35000"/>
          <a:alpha val="7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60000"/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75000"/>
            <a:lumOff val="2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</cs:dropLine>
  <cs:errorBar>
    <cs:lnRef idx="0"/>
    <cs:fillRef idx="0"/>
    <cs:effectRef idx="0"/>
    <cs:fontRef idx="minor">
      <a:schemeClr val="dk1"/>
    </cs:fontRef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  <a:lumOff val="10000"/>
              </a:schemeClr>
            </a:gs>
            <a:gs pos="0">
              <a:schemeClr val="lt1">
                <a:lumMod val="75000"/>
                <a:alpha val="36000"/>
                <a:lumOff val="10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15875" cap="flat" cmpd="sng" algn="ctr">
        <a:solidFill>
          <a:schemeClr val="dk1">
            <a:lumMod val="65000"/>
            <a:lumOff val="3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/>
    <cs:bodyPr rot="-60000000" vert="horz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  <cs:bodyPr rot="0" vert="horz"/>
  </cs:title>
  <cs:trendline>
    <cs:lnRef idx="0"/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lt1">
            <a:lumMod val="8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  <cs:bodyPr rot="-60000000" vert="horz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F4471D-741F-40BD-ADCF-540A18BA06B3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704918-ED87-4210-8CFE-EF6CD187E2E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8622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788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0410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9471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42964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8241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68650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2235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1916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78578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1791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6599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CAF32-E76F-4E86-92CA-D4610BCCC260}" type="datetimeFigureOut">
              <a:rPr lang="en-IN" smtClean="0"/>
              <a:t>22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ED3D7-A892-4319-83B8-6DC4495270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5801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4.png"/><Relationship Id="rId5" Type="http://schemas.openxmlformats.org/officeDocument/2006/relationships/chart" Target="../charts/chart1.xml"/><Relationship Id="rId4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microsoft.com/office/2007/relationships/hdphoto" Target="../media/hdphoto3.wdp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4.xml"/><Relationship Id="rId5" Type="http://schemas.microsoft.com/office/2007/relationships/hdphoto" Target="../media/hdphoto3.wdp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sgs.gov/special-topics/water-science-school/science/acid-rain-and-water#overview" TargetMode="External"/><Relationship Id="rId2" Type="http://schemas.openxmlformats.org/officeDocument/2006/relationships/hyperlink" Target="https://www3.epa.gov/acidrain/education/site_students/index.html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adda247.com/school/acid-rain/" TargetMode="External"/><Relationship Id="rId5" Type="http://schemas.openxmlformats.org/officeDocument/2006/relationships/hyperlink" Target="https://medium.com/the-naked-architect/the-taj-mahal-under-environmental-and-political-threat-7b3b8c4b7f6f" TargetMode="External"/><Relationship Id="rId4" Type="http://schemas.openxmlformats.org/officeDocument/2006/relationships/hyperlink" Target="https://ebooks.inflibnet.ac.in/esp16/chapter/acid-rain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hdphoto" Target="../media/hdphoto4.wdp"/><Relationship Id="rId7" Type="http://schemas.microsoft.com/office/2007/relationships/hdphoto" Target="../media/hdphoto6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microsoft.com/office/2007/relationships/hdphoto" Target="../media/hdphoto5.wdp"/><Relationship Id="rId4" Type="http://schemas.openxmlformats.org/officeDocument/2006/relationships/image" Target="../media/image5.png"/><Relationship Id="rId9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3.wdp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999" y="2618440"/>
            <a:ext cx="9180945" cy="1607272"/>
          </a:xfrm>
        </p:spPr>
        <p:txBody>
          <a:bodyPr>
            <a:no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ing acid rain pH variations in India</a:t>
            </a:r>
            <a:r>
              <a:rPr lang="en-IN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IN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d Semester</a:t>
            </a:r>
            <a:b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ject Presentation</a:t>
            </a:r>
            <a:br>
              <a:rPr lang="en-IN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IN" sz="2000" b="1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vironmental Reaction Modelling (CE-520)</a:t>
            </a:r>
            <a:endParaRPr lang="en-IN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13207" y="4918367"/>
            <a:ext cx="3291737" cy="156094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ented by – Anand Prabhakar</a:t>
            </a:r>
          </a:p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ll no.- DD23017</a:t>
            </a:r>
          </a:p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ool – SCENE</a:t>
            </a:r>
          </a:p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stitute – IIT Mandi</a:t>
            </a:r>
          </a:p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entation date– 22</a:t>
            </a:r>
            <a:r>
              <a:rPr lang="en-US" baseline="300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d</a:t>
            </a:r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May, 2024</a:t>
            </a:r>
          </a:p>
          <a:p>
            <a:pPr algn="l"/>
            <a:endParaRPr lang="en-US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1523999" y="4918367"/>
            <a:ext cx="4323512" cy="281706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rse Instructor – Dr. Harshad Vijay Kulkarni</a:t>
            </a:r>
            <a:endParaRPr lang="en-US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7296727" y="6220694"/>
            <a:ext cx="3408218" cy="25861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06" y="623457"/>
            <a:ext cx="2120442" cy="130232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88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600" y="623457"/>
            <a:ext cx="1640481" cy="135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802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- pH calculation using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MINTEQ contd..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0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55504" y="6219011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VMINTEQ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323131" y="3894137"/>
            <a:ext cx="5266488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For meteoric condition 1 atm. of CO2 is added as the gaseous species partial pressure menu.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For the Polluted condition the partial pressure of C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 and S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 is introduced in the model.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600" b="1" dirty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We have in the model : C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 and S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 gas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However, in real there are many atmospheric gases present like N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, NO, 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3</a:t>
            </a:r>
            <a:r>
              <a:rPr lang="en-US" sz="1600" b="1" dirty="0" smtClean="0">
                <a:latin typeface="Garamond" panose="02020404030301010803" pitchFamily="18" charset="0"/>
              </a:rPr>
              <a:t>, etc</a:t>
            </a:r>
            <a:r>
              <a:rPr lang="en-US" sz="1600" b="1" dirty="0">
                <a:latin typeface="Garamond" panose="02020404030301010803" pitchFamily="18" charset="0"/>
              </a:rPr>
              <a:t>.</a:t>
            </a:r>
            <a:endParaRPr lang="en-US" sz="1600" b="1" dirty="0" smtClean="0">
              <a:latin typeface="Garamond" panose="02020404030301010803" pitchFamily="18" charset="0"/>
            </a:endParaRPr>
          </a:p>
          <a:p>
            <a:pPr algn="just"/>
            <a:endParaRPr lang="en-US" sz="1600" b="1" dirty="0" smtClean="0">
              <a:latin typeface="Garamond" panose="02020404030301010803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504" y="1259937"/>
            <a:ext cx="5600935" cy="37421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6122" y="845661"/>
            <a:ext cx="5273497" cy="2941575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2927927" y="1394691"/>
            <a:ext cx="203200" cy="16625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ight Arrow 11"/>
          <p:cNvSpPr/>
          <p:nvPr/>
        </p:nvSpPr>
        <p:spPr>
          <a:xfrm>
            <a:off x="5892800" y="2177128"/>
            <a:ext cx="628073" cy="187381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1533236" y="3362036"/>
            <a:ext cx="3556000" cy="581891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42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ight Arrow 31"/>
          <p:cNvSpPr/>
          <p:nvPr/>
        </p:nvSpPr>
        <p:spPr>
          <a:xfrm rot="5400000">
            <a:off x="7938635" y="3049603"/>
            <a:ext cx="896409" cy="404037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- pH calculation using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REEQC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1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PHREEQC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741" y="784699"/>
            <a:ext cx="2624487" cy="250076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4294" y="769790"/>
            <a:ext cx="5023077" cy="2355368"/>
          </a:xfrm>
          <a:prstGeom prst="rect">
            <a:avLst/>
          </a:prstGeom>
        </p:spPr>
      </p:pic>
      <p:sp>
        <p:nvSpPr>
          <p:cNvPr id="10" name="Right Arrow 9"/>
          <p:cNvSpPr/>
          <p:nvPr/>
        </p:nvSpPr>
        <p:spPr>
          <a:xfrm>
            <a:off x="3089228" y="1715698"/>
            <a:ext cx="1195693" cy="404037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Oval 10"/>
          <p:cNvSpPr/>
          <p:nvPr/>
        </p:nvSpPr>
        <p:spPr>
          <a:xfrm>
            <a:off x="5388573" y="1224444"/>
            <a:ext cx="202018" cy="180754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5" name="Curved Connector 14"/>
          <p:cNvCxnSpPr>
            <a:stCxn id="11" idx="1"/>
          </p:cNvCxnSpPr>
          <p:nvPr/>
        </p:nvCxnSpPr>
        <p:spPr>
          <a:xfrm rot="16200000" flipV="1">
            <a:off x="3742402" y="-424842"/>
            <a:ext cx="312914" cy="303859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361923" y="3345813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Input in form of solution spreadsheet</a:t>
            </a:r>
            <a:endParaRPr lang="en-US" sz="1600" dirty="0" smtClean="0">
              <a:latin typeface="Garamond" panose="02020404030301010803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644294" y="3162349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Solution preparation in bulk</a:t>
            </a:r>
            <a:endParaRPr lang="en-US" sz="1600" dirty="0" smtClean="0">
              <a:latin typeface="Garamond" panose="02020404030301010803" pitchFamily="18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86419" y="3735359"/>
            <a:ext cx="4836901" cy="2010790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192149" y="5725256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Running the model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337" y="3627375"/>
            <a:ext cx="4047936" cy="2178095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37337" y="5813828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Model output</a:t>
            </a:r>
          </a:p>
        </p:txBody>
      </p:sp>
      <p:sp>
        <p:nvSpPr>
          <p:cNvPr id="40" name="Right Arrow 39"/>
          <p:cNvSpPr/>
          <p:nvPr/>
        </p:nvSpPr>
        <p:spPr>
          <a:xfrm rot="10800000">
            <a:off x="4790726" y="4510522"/>
            <a:ext cx="1195693" cy="404037"/>
          </a:xfrm>
          <a:prstGeom prst="rightArrow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1" name="TextBox 40"/>
          <p:cNvSpPr txBox="1"/>
          <p:nvPr/>
        </p:nvSpPr>
        <p:spPr>
          <a:xfrm>
            <a:off x="9476624" y="2119735"/>
            <a:ext cx="26321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solidFill>
                  <a:srgbClr val="0070C0"/>
                </a:solidFill>
                <a:latin typeface="Garamond" panose="02020404030301010803" pitchFamily="18" charset="0"/>
              </a:rPr>
              <a:t>This model gave the constant pH value of 7.0 for all the samples run.</a:t>
            </a:r>
            <a:endParaRPr lang="en-US" sz="1600" b="1" dirty="0" smtClean="0">
              <a:solidFill>
                <a:srgbClr val="0070C0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489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- pH calculation using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2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516518" y="5167735"/>
            <a:ext cx="3498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This model didn’t gave pH values by calculating through Spec8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Other parameters are calculated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16" y="974335"/>
            <a:ext cx="6380284" cy="195805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71616" y="2952339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Model input through GWB spreadsheet</a:t>
            </a:r>
          </a:p>
        </p:txBody>
      </p:sp>
      <p:sp>
        <p:nvSpPr>
          <p:cNvPr id="3" name="Rectangle 2"/>
          <p:cNvSpPr/>
          <p:nvPr/>
        </p:nvSpPr>
        <p:spPr>
          <a:xfrm>
            <a:off x="1996966" y="1481959"/>
            <a:ext cx="4855779" cy="1470380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7525407" y="1788660"/>
            <a:ext cx="34981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Analysis &gt; Calculate with Spec8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Choose the parameter to calculate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6851900" y="1870841"/>
            <a:ext cx="673507" cy="21020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740" y="3270744"/>
            <a:ext cx="8402439" cy="153937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15740" y="4921514"/>
            <a:ext cx="33063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Parameters as model output</a:t>
            </a:r>
          </a:p>
        </p:txBody>
      </p:sp>
      <p:sp>
        <p:nvSpPr>
          <p:cNvPr id="27" name="Right Arrow 26"/>
          <p:cNvSpPr/>
          <p:nvPr/>
        </p:nvSpPr>
        <p:spPr>
          <a:xfrm rot="8246781">
            <a:off x="8800572" y="2824385"/>
            <a:ext cx="673507" cy="210207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889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Visualization using 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3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69" y="1134937"/>
            <a:ext cx="6171215" cy="476866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242" y="1134937"/>
            <a:ext cx="6219403" cy="4805902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61923" y="5461387"/>
            <a:ext cx="34981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Analysis &gt; Calculate with Spec8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Choose the parameter to calculate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  <p:sp>
        <p:nvSpPr>
          <p:cNvPr id="25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298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Visualization using 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4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23" y="1135640"/>
            <a:ext cx="5986052" cy="462558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881" y="1094002"/>
            <a:ext cx="6093820" cy="4708861"/>
          </a:xfrm>
          <a:prstGeom prst="rect">
            <a:avLst/>
          </a:prstGeom>
        </p:spPr>
      </p:pic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80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Visualization using 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5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23" y="1161669"/>
            <a:ext cx="6012358" cy="46459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5971" y="1156746"/>
            <a:ext cx="6018730" cy="4650836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95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Visualization using 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6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23" y="1217375"/>
            <a:ext cx="5999750" cy="463617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088" y="1054435"/>
            <a:ext cx="6210613" cy="479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10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Visualization using GWB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17</a:t>
            </a:fld>
            <a:endParaRPr lang="en-IN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1923" y="1054065"/>
            <a:ext cx="11082644" cy="4862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922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riability in result w.r.t. actual data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pPr/>
              <a:t>18</a:t>
            </a:fld>
            <a:endParaRPr lang="en-IN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mc:AlternateContent xmlns:mc="http://schemas.openxmlformats.org/markup-compatibility/2006">
        <mc:Choice xmlns:cx="http://schemas.microsoft.com/office/drawing/2014/chartex" Requires="cx">
          <p:graphicFrame>
            <p:nvGraphicFramePr>
              <p:cNvPr id="10" name="Chart 9"/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3003606126"/>
                  </p:ext>
                </p:extLst>
              </p:nvPr>
            </p:nvGraphicFramePr>
            <p:xfrm>
              <a:off x="652547" y="1038620"/>
              <a:ext cx="7429271" cy="4692838"/>
            </p:xfrm>
            <a:graphic>
              <a:graphicData uri="http://schemas.microsoft.com/office/drawing/2014/chartex">
                <c:chart xmlns:c="http://schemas.openxmlformats.org/drawingml/2006/chart" xmlns:r="http://schemas.openxmlformats.org/officeDocument/2006/relationships" r:id="rId5"/>
              </a:graphicData>
            </a:graphic>
          </p:graphicFrame>
        </mc:Choice>
        <mc:Fallback>
          <p:pic>
            <p:nvPicPr>
              <p:cNvPr id="10" name="Chart 9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2547" y="1038620"/>
                <a:ext cx="7429271" cy="4692838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TextBox 10"/>
          <p:cNvSpPr txBox="1"/>
          <p:nvPr/>
        </p:nvSpPr>
        <p:spPr>
          <a:xfrm>
            <a:off x="8610600" y="2230877"/>
            <a:ext cx="28339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Ambient pH data in this case falls in highly basic range i.e. 7.2 – 9.9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Meteoric pH varied b/w 3.9 and 4.1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Under polluted most lies at 2.7</a:t>
            </a:r>
            <a:endParaRPr lang="en-US" sz="1600" b="1" dirty="0" smtClean="0">
              <a:latin typeface="Garamond" panose="02020404030301010803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In actual condition, pH ranged b/w, 2.6 to 3.9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73829" y="2858813"/>
            <a:ext cx="2190540" cy="1603771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268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(VMINTEQ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9</a:t>
            </a:fld>
            <a:endParaRPr lang="en-IN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12" name="Table 1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833411"/>
              </p:ext>
            </p:extLst>
          </p:nvPr>
        </p:nvGraphicFramePr>
        <p:xfrm>
          <a:off x="822036" y="877454"/>
          <a:ext cx="10531763" cy="5460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4546">
                  <a:extLst>
                    <a:ext uri="{9D8B030D-6E8A-4147-A177-3AD203B41FA5}">
                      <a16:colId xmlns:a16="http://schemas.microsoft.com/office/drawing/2014/main" val="1023606916"/>
                    </a:ext>
                  </a:extLst>
                </a:gridCol>
                <a:gridCol w="1025236">
                  <a:extLst>
                    <a:ext uri="{9D8B030D-6E8A-4147-A177-3AD203B41FA5}">
                      <a16:colId xmlns:a16="http://schemas.microsoft.com/office/drawing/2014/main" val="2232181151"/>
                    </a:ext>
                  </a:extLst>
                </a:gridCol>
                <a:gridCol w="1034473">
                  <a:extLst>
                    <a:ext uri="{9D8B030D-6E8A-4147-A177-3AD203B41FA5}">
                      <a16:colId xmlns:a16="http://schemas.microsoft.com/office/drawing/2014/main" val="949568525"/>
                    </a:ext>
                  </a:extLst>
                </a:gridCol>
                <a:gridCol w="979054">
                  <a:extLst>
                    <a:ext uri="{9D8B030D-6E8A-4147-A177-3AD203B41FA5}">
                      <a16:colId xmlns:a16="http://schemas.microsoft.com/office/drawing/2014/main" val="3058100141"/>
                    </a:ext>
                  </a:extLst>
                </a:gridCol>
                <a:gridCol w="1071419">
                  <a:extLst>
                    <a:ext uri="{9D8B030D-6E8A-4147-A177-3AD203B41FA5}">
                      <a16:colId xmlns:a16="http://schemas.microsoft.com/office/drawing/2014/main" val="2786960792"/>
                    </a:ext>
                  </a:extLst>
                </a:gridCol>
                <a:gridCol w="1293091">
                  <a:extLst>
                    <a:ext uri="{9D8B030D-6E8A-4147-A177-3AD203B41FA5}">
                      <a16:colId xmlns:a16="http://schemas.microsoft.com/office/drawing/2014/main" val="1595688274"/>
                    </a:ext>
                  </a:extLst>
                </a:gridCol>
                <a:gridCol w="1357745">
                  <a:extLst>
                    <a:ext uri="{9D8B030D-6E8A-4147-A177-3AD203B41FA5}">
                      <a16:colId xmlns:a16="http://schemas.microsoft.com/office/drawing/2014/main" val="2730641924"/>
                    </a:ext>
                  </a:extLst>
                </a:gridCol>
                <a:gridCol w="1335143">
                  <a:extLst>
                    <a:ext uri="{9D8B030D-6E8A-4147-A177-3AD203B41FA5}">
                      <a16:colId xmlns:a16="http://schemas.microsoft.com/office/drawing/2014/main" val="861074855"/>
                    </a:ext>
                  </a:extLst>
                </a:gridCol>
                <a:gridCol w="1281056">
                  <a:extLst>
                    <a:ext uri="{9D8B030D-6E8A-4147-A177-3AD203B41FA5}">
                      <a16:colId xmlns:a16="http://schemas.microsoft.com/office/drawing/2014/main" val="1879783658"/>
                    </a:ext>
                  </a:extLst>
                </a:gridCol>
              </a:tblGrid>
              <a:tr h="17288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mpling_Region</a:t>
                      </a:r>
                      <a:endParaRPr lang="en-IN" sz="1200" b="1" i="0" u="none" strike="noStrike" dirty="0">
                        <a:solidFill>
                          <a:srgbClr val="FFF2CC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mpling_year</a:t>
                      </a:r>
                      <a:endParaRPr lang="en-IN" sz="1200" b="1" i="0" u="none" strike="noStrike">
                        <a:solidFill>
                          <a:srgbClr val="FFF2CC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atitude</a:t>
                      </a:r>
                      <a:endParaRPr lang="en-IN" sz="1200" b="1" i="0" u="none" strike="noStrike">
                        <a:solidFill>
                          <a:srgbClr val="FFF2CC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ongitude</a:t>
                      </a:r>
                      <a:endParaRPr lang="en-IN" sz="1200" b="1" i="0" u="none" strike="noStrike">
                        <a:solidFill>
                          <a:srgbClr val="FFF2CC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 err="1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_actual</a:t>
                      </a:r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obs.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_VM_Ambient</a:t>
                      </a:r>
                      <a:endParaRPr lang="en-IN" sz="120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_VM_Meteoric</a:t>
                      </a:r>
                      <a:endParaRPr lang="en-IN" sz="120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_VM_Polluted</a:t>
                      </a:r>
                      <a:endParaRPr lang="en-IN" sz="120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iation_pol_obs</a:t>
                      </a:r>
                      <a:endParaRPr lang="en-IN" sz="12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9798948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°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.6°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10897339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°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.6°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</a:t>
                      </a:r>
                      <a:endParaRPr lang="en-IN" sz="1200" b="0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75905848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LL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°51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°63'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0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79006326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°30' N-27°30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°34' E-81°12'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5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33738884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°44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°11'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13271777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°37' N-24°02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°07' E-86°50' E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75199213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°37' N-24°02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°07' E-86°50'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38038771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2677° N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9913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48306680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3255°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.9952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29682814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33°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.20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1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67995841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18°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.06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31714498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°01′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°15′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18245585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°29′57.53''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°22′18.66''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18055969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°11′14″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°41′30″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72072568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9141°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.8560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en-IN" sz="1200" b="1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27832054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57°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.5°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70477823"/>
                  </a:ext>
                </a:extLst>
              </a:tr>
              <a:tr h="36150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°16′49″ N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°57′37″ 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85902943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verage 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</a:t>
                      </a:r>
                      <a:endParaRPr lang="en-IN" sz="1200" b="1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</a:t>
                      </a:r>
                      <a:endParaRPr lang="en-IN" sz="12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  <a:endParaRPr lang="en-IN" sz="12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57603670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. 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31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79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7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53150102"/>
                  </a:ext>
                </a:extLst>
              </a:tr>
              <a:tr h="180751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x.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07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8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7</a:t>
                      </a:r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44638182"/>
                  </a:ext>
                </a:extLst>
              </a:tr>
            </a:tbl>
          </a:graphicData>
        </a:graphic>
      </p:graphicFrame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822036" y="6356350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15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01963" y="623105"/>
            <a:ext cx="58341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2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701963" y="1178975"/>
            <a:ext cx="10742604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bjective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: Acid rain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a Source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a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ndling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a information</a:t>
            </a: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umptions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thodology ( pH calculations and </a:t>
            </a:r>
            <a:r>
              <a:rPr lang="en-US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zualizations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ariability in result w.r.t. actual data</a:t>
            </a: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ult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80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(GWB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0</a:t>
            </a:fld>
            <a:endParaRPr lang="en-IN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979006"/>
              </p:ext>
            </p:extLst>
          </p:nvPr>
        </p:nvGraphicFramePr>
        <p:xfrm>
          <a:off x="652547" y="1298376"/>
          <a:ext cx="10792015" cy="40233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0155">
                  <a:extLst>
                    <a:ext uri="{9D8B030D-6E8A-4147-A177-3AD203B41FA5}">
                      <a16:colId xmlns:a16="http://schemas.microsoft.com/office/drawing/2014/main" val="1465501414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46607136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1104398076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957302090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1974557276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1064336945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711910440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2853121686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4268759218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514663165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2911163695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2749338619"/>
                    </a:ext>
                  </a:extLst>
                </a:gridCol>
                <a:gridCol w="830155">
                  <a:extLst>
                    <a:ext uri="{9D8B030D-6E8A-4147-A177-3AD203B41FA5}">
                      <a16:colId xmlns:a16="http://schemas.microsoft.com/office/drawing/2014/main" val="1345020921"/>
                    </a:ext>
                  </a:extLst>
                </a:gridCol>
              </a:tblGrid>
              <a:tr h="25688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mple ID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197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8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W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LLY , 2006 - 20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LLY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LLY , 20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LLY , 2001-20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5394810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+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7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82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4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4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96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24629503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++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1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8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9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2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2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80784995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++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0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8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05017655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+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17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9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2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05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0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6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91996040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4+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7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8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8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03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23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3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5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2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49635913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l-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8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1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4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6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2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1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05650361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3-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95796215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4--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.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8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8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7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1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96661677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5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8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7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59663663"/>
                  </a:ext>
                </a:extLst>
              </a:tr>
              <a:tr h="25665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ardness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kg_as_CaCO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9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9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3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28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4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5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4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84330375"/>
                  </a:ext>
                </a:extLst>
              </a:tr>
              <a:tr h="25688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rge imbalanc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/kg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5.3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04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9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9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28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9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99755346"/>
                  </a:ext>
                </a:extLst>
              </a:tr>
              <a:tr h="25688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lectrical conductivity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/cm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.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.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.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7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43923760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onic strength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ola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013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9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9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3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4E-04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50091169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ater type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02461735"/>
                  </a:ext>
                </a:extLst>
              </a:tr>
              <a:tr h="13902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solved solids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g/l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.7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5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8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8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10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911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60153945"/>
                  </a:ext>
                </a:extLst>
              </a:tr>
            </a:tbl>
          </a:graphicData>
        </a:graphic>
      </p:graphicFrame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652547" y="608167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53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(GWB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1</a:t>
            </a:fld>
            <a:endParaRPr lang="en-IN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2992"/>
              </p:ext>
            </p:extLst>
          </p:nvPr>
        </p:nvGraphicFramePr>
        <p:xfrm>
          <a:off x="652547" y="1130215"/>
          <a:ext cx="11255664" cy="47660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5984">
                  <a:extLst>
                    <a:ext uri="{9D8B030D-6E8A-4147-A177-3AD203B41FA5}">
                      <a16:colId xmlns:a16="http://schemas.microsoft.com/office/drawing/2014/main" val="1126305559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955287144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2601658398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612620064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810367366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932701783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614153946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793241343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629343561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306642394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508298885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16279267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891579517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2766796942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796198472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552842828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4218076718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1038242860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683801112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2284616748"/>
                    </a:ext>
                  </a:extLst>
                </a:gridCol>
                <a:gridCol w="535984">
                  <a:extLst>
                    <a:ext uri="{9D8B030D-6E8A-4147-A177-3AD203B41FA5}">
                      <a16:colId xmlns:a16="http://schemas.microsoft.com/office/drawing/2014/main" val="328299053"/>
                    </a:ext>
                  </a:extLst>
                </a:gridCol>
              </a:tblGrid>
              <a:tr h="68087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5-199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7-19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1999-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09-2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NE , 2012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80044736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0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4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5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0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1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66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67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4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7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9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9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4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9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4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5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3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15509858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9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8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9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59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53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63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9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1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3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03325908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6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21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6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4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61816307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6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6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86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93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3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2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97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5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25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27785268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8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5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14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64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2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7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05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5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42187666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8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7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2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5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1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1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92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5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6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92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2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92357663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5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3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3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1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7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3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5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06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5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40154913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5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5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9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7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8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6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7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8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1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83496106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1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9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1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5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5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15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8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1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70267235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7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0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47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58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9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7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3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281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6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1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2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286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8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25128323"/>
                  </a:ext>
                </a:extLst>
              </a:tr>
              <a:tr h="4539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3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96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8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5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24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1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6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7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83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1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4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3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6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38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04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3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83958654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6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5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.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1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.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17962895"/>
                  </a:ext>
                </a:extLst>
              </a:tr>
              <a:tr h="4539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3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26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95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9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6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39370515"/>
                  </a:ext>
                </a:extLst>
              </a:tr>
              <a:tr h="4539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4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4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H4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45384175"/>
                  </a:ext>
                </a:extLst>
              </a:tr>
              <a:tr h="22695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678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9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3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0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5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17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2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87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1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8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95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3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50147573"/>
                  </a:ext>
                </a:extLst>
              </a:tr>
            </a:tbl>
          </a:graphicData>
        </a:graphic>
      </p:graphicFrame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652547" y="6159061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48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GWB)</a:t>
            </a:r>
            <a:endParaRPr lang="en-US" sz="2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2</a:t>
            </a:fld>
            <a:endParaRPr lang="en-IN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797321"/>
              </p:ext>
            </p:extLst>
          </p:nvPr>
        </p:nvGraphicFramePr>
        <p:xfrm>
          <a:off x="652547" y="1140722"/>
          <a:ext cx="11362153" cy="4534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2923">
                  <a:extLst>
                    <a:ext uri="{9D8B030D-6E8A-4147-A177-3AD203B41FA5}">
                      <a16:colId xmlns:a16="http://schemas.microsoft.com/office/drawing/2014/main" val="292743746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363652858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460122492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546752269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1103715183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1409999903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1823032305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407044568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1837855493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3201529986"/>
                    </a:ext>
                  </a:extLst>
                </a:gridCol>
                <a:gridCol w="1032923">
                  <a:extLst>
                    <a:ext uri="{9D8B030D-6E8A-4147-A177-3AD203B41FA5}">
                      <a16:colId xmlns:a16="http://schemas.microsoft.com/office/drawing/2014/main" val="3509699495"/>
                    </a:ext>
                  </a:extLst>
                </a:gridCol>
              </a:tblGrid>
              <a:tr h="53351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13-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13-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13-2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05-2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 , 2016-20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 , 19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 , 1990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 , 2005-2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 , 2006-20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NINSULAR , 2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24746489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7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29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6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4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35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0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21032469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06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13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1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7292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1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8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35881475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3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4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4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2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8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0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6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48385570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2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15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4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12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17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56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08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14425035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6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37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2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6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54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95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03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7683685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8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0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72405855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8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1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5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8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5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2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12061678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2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4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1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04993183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1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8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5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2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9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66698448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7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5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0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14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91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7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745134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63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9.84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.52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.0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43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.2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2E-0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1E-0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4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51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7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42360677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6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.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3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3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.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40380512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8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08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8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5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80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1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70459117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NO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56967318"/>
                  </a:ext>
                </a:extLst>
              </a:tr>
              <a:tr h="26675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33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3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4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9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859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92368247"/>
                  </a:ext>
                </a:extLst>
              </a:tr>
            </a:tbl>
          </a:graphicData>
        </a:graphic>
      </p:graphicFrame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652547" y="608167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80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GWB)</a:t>
            </a:r>
            <a:endParaRPr lang="en-US" sz="2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3</a:t>
            </a:fld>
            <a:endParaRPr lang="en-IN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216211"/>
              </p:ext>
            </p:extLst>
          </p:nvPr>
        </p:nvGraphicFramePr>
        <p:xfrm>
          <a:off x="652547" y="867453"/>
          <a:ext cx="11234650" cy="5165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2475">
                  <a:extLst>
                    <a:ext uri="{9D8B030D-6E8A-4147-A177-3AD203B41FA5}">
                      <a16:colId xmlns:a16="http://schemas.microsoft.com/office/drawing/2014/main" val="4291029187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1763351858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815982952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1682053473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4028715352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2387710478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3678710807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945671914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835307873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2787411170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1612804960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3162235290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3164747380"/>
                    </a:ext>
                  </a:extLst>
                </a:gridCol>
                <a:gridCol w="802475">
                  <a:extLst>
                    <a:ext uri="{9D8B030D-6E8A-4147-A177-3AD203B41FA5}">
                      <a16:colId xmlns:a16="http://schemas.microsoft.com/office/drawing/2014/main" val="3351138077"/>
                    </a:ext>
                  </a:extLst>
                </a:gridCol>
              </a:tblGrid>
              <a:tr h="60770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8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2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4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9-20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4-19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4-19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1994-199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2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20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CR , 20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0689957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965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44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82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58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58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4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98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20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75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71154999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98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60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066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607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7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77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6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8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23179725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21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0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4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81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44527959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78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78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6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3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3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87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89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87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10867958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8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98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08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5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52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44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2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3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52944265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09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8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3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73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921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9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75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36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6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72997273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77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82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06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8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10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5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6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744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36599329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0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76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86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5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4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4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3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8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9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2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35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21004430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6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</a:t>
                      </a:r>
                      <a:endParaRPr lang="en-IN" sz="1200" b="0" i="0" u="none" strike="noStrike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4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7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</a:t>
                      </a:r>
                      <a:endParaRPr lang="en-IN" sz="1200" b="0" i="0" u="none" strike="noStrike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16213042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26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05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1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07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7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6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5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74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09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1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2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91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17918557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67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03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5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9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5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0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4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2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64E-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79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75640646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88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82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1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4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0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2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19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.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.3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.17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.7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5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9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45475116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61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07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8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8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9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4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86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6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57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12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56E-0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95E-0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73818390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-SO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-Cl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61781561"/>
                  </a:ext>
                </a:extLst>
              </a:tr>
              <a:tr h="30385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64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74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98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6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094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99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592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38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06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.75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03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21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99645739"/>
                  </a:ext>
                </a:extLst>
              </a:tr>
            </a:tbl>
          </a:graphicData>
        </a:graphic>
      </p:graphicFrame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652547" y="6219924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GWB, 20023)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Garamond" panose="02020404030301010803" pitchFamily="18" charset="0"/>
              <a:ea typeface="Arial" panose="020B0604020202020204" pitchFamily="34" charset="0"/>
              <a:cs typeface="Mang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06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pPr/>
              <a:t>24</a:t>
            </a:fld>
            <a:endParaRPr lang="en-IN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9" name="Chart 8" descr="{&quot;Id&quot;:&quot;POWER_USER_LINK_49480AB6_A9CE_490D_8B5D_CFAC0F87619B&quot;,&quot;SourceFullName&quot;:&quot;C:\\Users\\anand\\Downloads\\CE520Project\\VMINTEQ\\acid_rain_phdata.xlsx&quot;,&quot;LastUpdate&quot;:&quot;2024-05-21 11:54 PM&quot;,&quot;UpdatedBy&quot;:&quot;anand&quot;,&quot;IsLinked&quot;:true,&quot;IsBrokenLink&quot;:false,&quot;Type&quot;:1}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887869"/>
              </p:ext>
            </p:extLst>
          </p:nvPr>
        </p:nvGraphicFramePr>
        <p:xfrm>
          <a:off x="652546" y="867452"/>
          <a:ext cx="5055527" cy="3870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 descr="{&quot;Id&quot;:&quot;POWER_USER_LINK_49480AB6_A9CE_490D_8B5D_CFAC0F87619B&quot;,&quot;SourceFullName&quot;:&quot;C:\\Users\\anand\\Downloads\\CE520Project\\VMINTEQ\\acid_rain_phdata.xlsx&quot;,&quot;LastUpdate&quot;:&quot;2024-05-21 11:54 PM&quot;,&quot;UpdatedBy&quot;:&quot;anand&quot;,&quot;IsLinked&quot;:true,&quot;IsBrokenLink&quot;:false,&quot;Type&quot;:1}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607363"/>
              </p:ext>
            </p:extLst>
          </p:nvPr>
        </p:nvGraphicFramePr>
        <p:xfrm>
          <a:off x="6544292" y="867452"/>
          <a:ext cx="4809508" cy="3870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52545" y="4737929"/>
            <a:ext cx="105116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Both meteoric and ambient conditions show a positive correlation with the actual pH values however there is lot of variability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They are having good fit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3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pPr/>
              <a:t>25</a:t>
            </a:fld>
            <a:endParaRPr lang="en-IN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graphicFrame>
        <p:nvGraphicFramePr>
          <p:cNvPr id="6" name="Chart 5" descr="{&quot;Id&quot;:&quot;POWER_USER_LINK_49480AB6_A9CE_490D_8B5D_CFAC0F87619B&quot;,&quot;SourceFullName&quot;:&quot;C:\\Users\\anand\\Downloads\\CE520Project\\VMINTEQ\\acid_rain_phdata.xlsx&quot;,&quot;LastUpdate&quot;:&quot;2024-05-21 11:54 PM&quot;,&quot;UpdatedBy&quot;:&quot;anand&quot;,&quot;IsLinked&quot;:true,&quot;IsBrokenLink&quot;:false,&quot;Type&quot;:1}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314824"/>
              </p:ext>
            </p:extLst>
          </p:nvPr>
        </p:nvGraphicFramePr>
        <p:xfrm>
          <a:off x="652547" y="867453"/>
          <a:ext cx="5572762" cy="3759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966717"/>
              </p:ext>
            </p:extLst>
          </p:nvPr>
        </p:nvGraphicFramePr>
        <p:xfrm>
          <a:off x="6066694" y="867453"/>
          <a:ext cx="5948007" cy="3759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52545" y="4737929"/>
            <a:ext cx="105116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Both meteoric and ambient conditions show a negative correlation. </a:t>
            </a:r>
            <a:endParaRPr lang="en-US" sz="1600" b="1" dirty="0">
              <a:latin typeface="Garamond" panose="02020404030301010803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Difficult to comment on it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This variability may be caused because only C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  </a:t>
            </a:r>
            <a:r>
              <a:rPr lang="en-US" sz="1600" b="1" dirty="0" smtClean="0">
                <a:latin typeface="Garamond" panose="02020404030301010803" pitchFamily="18" charset="0"/>
              </a:rPr>
              <a:t>and S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 </a:t>
            </a:r>
            <a:r>
              <a:rPr lang="en-US" sz="1600" b="1" dirty="0" smtClean="0">
                <a:latin typeface="Garamond" panose="02020404030301010803" pitchFamily="18" charset="0"/>
              </a:rPr>
              <a:t>are taken into account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latin typeface="Garamond" panose="02020404030301010803" pitchFamily="18" charset="0"/>
              </a:rPr>
              <a:t>This </a:t>
            </a:r>
            <a:r>
              <a:rPr lang="en-US" sz="1600" b="1" dirty="0" smtClean="0">
                <a:latin typeface="Garamond" panose="02020404030301010803" pitchFamily="18" charset="0"/>
              </a:rPr>
              <a:t>variability can be countered by decreasing the CO</a:t>
            </a:r>
            <a:r>
              <a:rPr lang="en-US" sz="1600" b="1" baseline="-25000" dirty="0" smtClean="0">
                <a:latin typeface="Garamond" panose="02020404030301010803" pitchFamily="18" charset="0"/>
              </a:rPr>
              <a:t>2</a:t>
            </a:r>
            <a:r>
              <a:rPr lang="en-US" sz="1600" b="1" dirty="0" smtClean="0">
                <a:latin typeface="Garamond" panose="02020404030301010803" pitchFamily="18" charset="0"/>
              </a:rPr>
              <a:t> concentration in our case.</a:t>
            </a:r>
            <a:endParaRPr lang="en-US" sz="1600" b="1" baseline="-25000" dirty="0" smtClean="0">
              <a:latin typeface="Garamond" panose="02020404030301010803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They are not having good fit</a:t>
            </a:r>
            <a:endParaRPr lang="en-US" sz="1600" b="1" dirty="0" smtClean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75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26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652546" y="1003485"/>
            <a:ext cx="1070125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Large dataset of 17 samples (3 set each) generated by VMINTEQ model for various regions under varying condition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Dataset of all the species generated by PHREEQC (but they all show pH of 7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GSS spreadsheet of dataset along with all the parameters calculated with Spec8 in GWB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On comparison we got average pH of 2.8 in polluted conditions with variation of around 3.9 with actual value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47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541713" y="762156"/>
            <a:ext cx="11184121" cy="5594194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Abbasi</a:t>
            </a:r>
            <a:r>
              <a:rPr lang="en-US" sz="1200" dirty="0">
                <a:latin typeface="Garamond" panose="02020404030301010803" pitchFamily="18" charset="0"/>
              </a:rPr>
              <a:t>, T., </a:t>
            </a:r>
            <a:r>
              <a:rPr lang="en-US" sz="1200" dirty="0" err="1">
                <a:latin typeface="Garamond" panose="02020404030301010803" pitchFamily="18" charset="0"/>
              </a:rPr>
              <a:t>Poornima</a:t>
            </a:r>
            <a:r>
              <a:rPr lang="en-US" sz="1200" dirty="0">
                <a:latin typeface="Garamond" panose="02020404030301010803" pitchFamily="18" charset="0"/>
              </a:rPr>
              <a:t>, P., </a:t>
            </a:r>
            <a:r>
              <a:rPr lang="en-US" sz="1200" dirty="0" err="1">
                <a:latin typeface="Garamond" panose="02020404030301010803" pitchFamily="18" charset="0"/>
              </a:rPr>
              <a:t>Kannadasan</a:t>
            </a:r>
            <a:r>
              <a:rPr lang="en-US" sz="1200" dirty="0">
                <a:latin typeface="Garamond" panose="02020404030301010803" pitchFamily="18" charset="0"/>
              </a:rPr>
              <a:t>, T. and </a:t>
            </a:r>
            <a:r>
              <a:rPr lang="en-US" sz="1200" dirty="0" err="1">
                <a:latin typeface="Garamond" panose="02020404030301010803" pitchFamily="18" charset="0"/>
              </a:rPr>
              <a:t>Abbasi</a:t>
            </a:r>
            <a:r>
              <a:rPr lang="en-US" sz="1200" dirty="0">
                <a:latin typeface="Garamond" panose="02020404030301010803" pitchFamily="18" charset="0"/>
              </a:rPr>
              <a:t>, S.A., 2013. Acid rain: past, present, and future. International Journal of Environmental Engineering, 5(3), pp.229-272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Acid Rain (students site), United States Environmental Protection Agency (US EPA) [</a:t>
            </a:r>
            <a:r>
              <a:rPr lang="en-US" sz="1200" u="sng" dirty="0">
                <a:latin typeface="Garamond" panose="02020404030301010803" pitchFamily="18" charset="0"/>
                <a:hlinkClick r:id="rId2"/>
              </a:rPr>
              <a:t>https://www3.epa.gov/acidrain/education/site_students/index.html</a:t>
            </a:r>
            <a:r>
              <a:rPr lang="en-US" sz="1200" dirty="0">
                <a:latin typeface="Garamond" panose="02020404030301010803" pitchFamily="18" charset="0"/>
              </a:rPr>
              <a:t>]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Acid Rain and Water, Water Science School 2019. USGS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Bisht</a:t>
            </a:r>
            <a:r>
              <a:rPr lang="en-US" sz="1200" dirty="0">
                <a:latin typeface="Garamond" panose="02020404030301010803" pitchFamily="18" charset="0"/>
              </a:rPr>
              <a:t>, D.S., Tiwari, S., Srivastava, A.K., Singh, J.V., Singh, B.P. and Srivastava, M.K., 2015. High concentration of acidic species in rainwater at Varanasi in the Indo-Gangetic Plains, India. Natural Hazards, 75, pp.2985-3003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Budhavant</a:t>
            </a:r>
            <a:r>
              <a:rPr lang="en-US" sz="1200" dirty="0">
                <a:latin typeface="Garamond" panose="02020404030301010803" pitchFamily="18" charset="0"/>
              </a:rPr>
              <a:t>, K.B., </a:t>
            </a:r>
            <a:r>
              <a:rPr lang="en-US" sz="1200" dirty="0" err="1">
                <a:latin typeface="Garamond" panose="02020404030301010803" pitchFamily="18" charset="0"/>
              </a:rPr>
              <a:t>Gawhane</a:t>
            </a:r>
            <a:r>
              <a:rPr lang="en-US" sz="1200" dirty="0">
                <a:latin typeface="Garamond" panose="02020404030301010803" pitchFamily="18" charset="0"/>
              </a:rPr>
              <a:t>, R.D., Rao, P.S.P., Nair, H.R.C.R. and </a:t>
            </a:r>
            <a:r>
              <a:rPr lang="en-US" sz="1200" dirty="0" err="1">
                <a:latin typeface="Garamond" panose="02020404030301010803" pitchFamily="18" charset="0"/>
              </a:rPr>
              <a:t>Safai</a:t>
            </a:r>
            <a:r>
              <a:rPr lang="en-US" sz="1200" dirty="0">
                <a:latin typeface="Garamond" panose="02020404030301010803" pitchFamily="18" charset="0"/>
              </a:rPr>
              <a:t>, P.D., 2021. Long-term increasing trends in the wet deposition of secondary inorganic constituents in SW Indian precipitation. Air Quality, Atmosphere &amp; Health, 14, pp.667-677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Gacesa</a:t>
            </a:r>
            <a:r>
              <a:rPr lang="en-US" sz="1200" dirty="0">
                <a:latin typeface="Garamond" panose="02020404030301010803" pitchFamily="18" charset="0"/>
              </a:rPr>
              <a:t> S, </a:t>
            </a:r>
            <a:r>
              <a:rPr lang="en-US" sz="1200" dirty="0" err="1">
                <a:latin typeface="Garamond" panose="02020404030301010803" pitchFamily="18" charset="0"/>
              </a:rPr>
              <a:t>Klasnja</a:t>
            </a:r>
            <a:r>
              <a:rPr lang="en-US" sz="1200" dirty="0">
                <a:latin typeface="Garamond" panose="02020404030301010803" pitchFamily="18" charset="0"/>
              </a:rPr>
              <a:t>. Water and Wastewater Technology. 1994. [</a:t>
            </a:r>
            <a:r>
              <a:rPr lang="en-US" sz="1200" u="sng" dirty="0">
                <a:latin typeface="Garamond" panose="02020404030301010803" pitchFamily="18" charset="0"/>
                <a:hlinkClick r:id="rId3"/>
              </a:rPr>
              <a:t>https://www.usgs.gov/special-topics/water-science-school/science/acid-rain-and-water#overview</a:t>
            </a:r>
            <a:r>
              <a:rPr lang="en-US" sz="1200" dirty="0">
                <a:latin typeface="Garamond" panose="02020404030301010803" pitchFamily="18" charset="0"/>
              </a:rPr>
              <a:t>]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Gupta, K.S., 10 Acid Rain.[</a:t>
            </a:r>
            <a:r>
              <a:rPr lang="en-US" sz="1200" u="sng" dirty="0">
                <a:latin typeface="Garamond" panose="02020404030301010803" pitchFamily="18" charset="0"/>
                <a:hlinkClick r:id="rId4"/>
              </a:rPr>
              <a:t>https://ebooks.inflibnet.ac.in/esp16/chapter/acid-rain/</a:t>
            </a:r>
            <a:r>
              <a:rPr lang="en-US" sz="1200" dirty="0">
                <a:latin typeface="Garamond" panose="02020404030301010803" pitchFamily="18" charset="0"/>
              </a:rPr>
              <a:t>]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Jacob, D.J., 1999. Introduction to atmospheric chemistry. Princeton university press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Kumar, P., Yadav, S. and Kumar, A., 2014. Sources and processes governing rainwater chemistry in New Delhi, India. Natural hazards, 74, pp.2147-2162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b="1" dirty="0">
                <a:latin typeface="Garamond" panose="02020404030301010803" pitchFamily="18" charset="0"/>
              </a:rPr>
              <a:t>Majumdar, A., </a:t>
            </a:r>
            <a:r>
              <a:rPr lang="en-US" sz="1200" b="1" dirty="0" err="1">
                <a:latin typeface="Garamond" panose="02020404030301010803" pitchFamily="18" charset="0"/>
              </a:rPr>
              <a:t>Samanta</a:t>
            </a:r>
            <a:r>
              <a:rPr lang="en-US" sz="1200" b="1" dirty="0">
                <a:latin typeface="Garamond" panose="02020404030301010803" pitchFamily="18" charset="0"/>
              </a:rPr>
              <a:t>, D. and Das, R., 2022. Chemical characteristics and trends of </a:t>
            </a:r>
            <a:r>
              <a:rPr lang="en-US" sz="1200" b="1" dirty="0" err="1">
                <a:latin typeface="Garamond" panose="02020404030301010803" pitchFamily="18" charset="0"/>
              </a:rPr>
              <a:t>indian</a:t>
            </a:r>
            <a:r>
              <a:rPr lang="en-US" sz="1200" b="1" dirty="0">
                <a:latin typeface="Garamond" panose="02020404030301010803" pitchFamily="18" charset="0"/>
              </a:rPr>
              <a:t> summer monsoon rainfall: A review. Aerosol and Air Quality Research</a:t>
            </a:r>
            <a:r>
              <a:rPr lang="en-US" sz="1200" b="1" dirty="0" smtClean="0">
                <a:latin typeface="Garamond" panose="02020404030301010803" pitchFamily="18" charset="0"/>
              </a:rPr>
              <a:t>.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200" b="1" dirty="0" err="1" smtClean="0">
                <a:latin typeface="Garamond" panose="02020404030301010803" pitchFamily="18" charset="0"/>
              </a:rPr>
              <a:t>Kuttippurath</a:t>
            </a:r>
            <a:r>
              <a:rPr lang="en-US" sz="1200" b="1" dirty="0" smtClean="0">
                <a:latin typeface="Garamond" panose="02020404030301010803" pitchFamily="18" charset="0"/>
              </a:rPr>
              <a:t>, J., Peter, R., Singh, A. and Raj, S., 2022. The increasing atmospheric CO2 over India: Comparison to global trends. </a:t>
            </a:r>
            <a:r>
              <a:rPr lang="en-US" sz="1200" b="1" dirty="0" err="1" smtClean="0">
                <a:latin typeface="Garamond" panose="02020404030301010803" pitchFamily="18" charset="0"/>
              </a:rPr>
              <a:t>Iscience</a:t>
            </a:r>
            <a:r>
              <a:rPr lang="en-US" sz="1200" b="1" dirty="0" smtClean="0">
                <a:latin typeface="Garamond" panose="02020404030301010803" pitchFamily="18" charset="0"/>
              </a:rPr>
              <a:t>, 25(8).</a:t>
            </a:r>
            <a:endParaRPr lang="en-IN" sz="1200" b="1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Mohajan</a:t>
            </a:r>
            <a:r>
              <a:rPr lang="en-US" sz="1200" dirty="0">
                <a:latin typeface="Garamond" panose="02020404030301010803" pitchFamily="18" charset="0"/>
              </a:rPr>
              <a:t>, H., 2018. Acid rain is a local environment pollution but global concern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Mohan, M. and Kumar, S., 1998. Review of acid rain potential in India: future threats and remedial measures. Current science, pp.579-593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Pani</a:t>
            </a:r>
            <a:r>
              <a:rPr lang="en-US" sz="1200" dirty="0">
                <a:latin typeface="Garamond" panose="02020404030301010803" pitchFamily="18" charset="0"/>
              </a:rPr>
              <a:t>, B., 2007. Textbook of environmental chemistry. IK International </a:t>
            </a:r>
            <a:r>
              <a:rPr lang="en-US" sz="1200" dirty="0" err="1">
                <a:latin typeface="Garamond" panose="02020404030301010803" pitchFamily="18" charset="0"/>
              </a:rPr>
              <a:t>Pvt</a:t>
            </a:r>
            <a:r>
              <a:rPr lang="en-US" sz="1200" dirty="0">
                <a:latin typeface="Garamond" panose="02020404030301010803" pitchFamily="18" charset="0"/>
              </a:rPr>
              <a:t> Ltd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pH Scale, Water Science School 2019. USGS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Prakash, J., Agrawal, S.B. and Agrawal, M., 2023. Global trends of acidity in rainfall and its impact on plants and soil. Journal of Soil Science and Plant Nutrition, 23(1), pp.398-419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Shi, Z., Zhang, J., Xiao, Z., Lu, T., Ren, X. and Wei, H., 2021. Effects of acid rain on plant growth: A meta-analysis. Journal of Environmental Management, 297, p.113213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Singh, A. and Agrawal, M., 2007. Acid rain and its ecological consequences. Journal of Environmental Biology, 29(1), p.15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Singh, A.K., </a:t>
            </a:r>
            <a:r>
              <a:rPr lang="en-US" sz="1200" dirty="0" err="1">
                <a:latin typeface="Garamond" panose="02020404030301010803" pitchFamily="18" charset="0"/>
              </a:rPr>
              <a:t>Mondal</a:t>
            </a:r>
            <a:r>
              <a:rPr lang="en-US" sz="1200" dirty="0">
                <a:latin typeface="Garamond" panose="02020404030301010803" pitchFamily="18" charset="0"/>
              </a:rPr>
              <a:t>, G.C., Kumar, S., Singh, K.K., Kamal, K.P. and Sinha, A., 2007. Precipitation chemistry and occurrence of acid rain over </a:t>
            </a:r>
            <a:r>
              <a:rPr lang="en-US" sz="1200" dirty="0" err="1">
                <a:latin typeface="Garamond" panose="02020404030301010803" pitchFamily="18" charset="0"/>
              </a:rPr>
              <a:t>Dhanbad</a:t>
            </a:r>
            <a:r>
              <a:rPr lang="en-US" sz="1200" dirty="0">
                <a:latin typeface="Garamond" panose="02020404030301010803" pitchFamily="18" charset="0"/>
              </a:rPr>
              <a:t>, coal city of India. Environmental monitoring and assessment, 125, pp.99-110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Tiwari, S., </a:t>
            </a:r>
            <a:r>
              <a:rPr lang="en-US" sz="1200" dirty="0" err="1">
                <a:latin typeface="Garamond" panose="02020404030301010803" pitchFamily="18" charset="0"/>
              </a:rPr>
              <a:t>Chate</a:t>
            </a:r>
            <a:r>
              <a:rPr lang="en-US" sz="1200" dirty="0">
                <a:latin typeface="Garamond" panose="02020404030301010803" pitchFamily="18" charset="0"/>
              </a:rPr>
              <a:t>, D.M., </a:t>
            </a:r>
            <a:r>
              <a:rPr lang="en-US" sz="1200" dirty="0" err="1">
                <a:latin typeface="Garamond" panose="02020404030301010803" pitchFamily="18" charset="0"/>
              </a:rPr>
              <a:t>Bisht</a:t>
            </a:r>
            <a:r>
              <a:rPr lang="en-US" sz="1200" dirty="0">
                <a:latin typeface="Garamond" panose="02020404030301010803" pitchFamily="18" charset="0"/>
              </a:rPr>
              <a:t>, D.S., Srivastava, M.K. and </a:t>
            </a:r>
            <a:r>
              <a:rPr lang="en-US" sz="1200" dirty="0" err="1">
                <a:latin typeface="Garamond" panose="02020404030301010803" pitchFamily="18" charset="0"/>
              </a:rPr>
              <a:t>Padmanabhamurty</a:t>
            </a:r>
            <a:r>
              <a:rPr lang="en-US" sz="1200" dirty="0">
                <a:latin typeface="Garamond" panose="02020404030301010803" pitchFamily="18" charset="0"/>
              </a:rPr>
              <a:t>, B., 2012. Rainwater chemistry in the North Western Himalayan Region, India. Atmospheric Research, 104, pp.128-138.</a:t>
            </a:r>
            <a:endParaRPr lang="en-IN" sz="1200" dirty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err="1">
                <a:latin typeface="Garamond" panose="02020404030301010803" pitchFamily="18" charset="0"/>
              </a:rPr>
              <a:t>Vidaković</a:t>
            </a:r>
            <a:r>
              <a:rPr lang="en-US" sz="1200" dirty="0">
                <a:latin typeface="Garamond" panose="02020404030301010803" pitchFamily="18" charset="0"/>
              </a:rPr>
              <a:t>, M., </a:t>
            </a:r>
            <a:r>
              <a:rPr lang="en-US" sz="1200" dirty="0" err="1">
                <a:latin typeface="Garamond" panose="02020404030301010803" pitchFamily="18" charset="0"/>
              </a:rPr>
              <a:t>Djurić</a:t>
            </a:r>
            <a:r>
              <a:rPr lang="en-US" sz="1200" dirty="0">
                <a:latin typeface="Garamond" panose="02020404030301010803" pitchFamily="18" charset="0"/>
              </a:rPr>
              <a:t>, N., </a:t>
            </a:r>
            <a:r>
              <a:rPr lang="en-US" sz="1200" dirty="0" err="1">
                <a:latin typeface="Garamond" panose="02020404030301010803" pitchFamily="18" charset="0"/>
              </a:rPr>
              <a:t>Savković</a:t>
            </a:r>
            <a:r>
              <a:rPr lang="en-US" sz="1200" dirty="0">
                <a:latin typeface="Garamond" panose="02020404030301010803" pitchFamily="18" charset="0"/>
              </a:rPr>
              <a:t>, P. and </a:t>
            </a:r>
            <a:r>
              <a:rPr lang="en-US" sz="1200" dirty="0" err="1">
                <a:latin typeface="Garamond" panose="02020404030301010803" pitchFamily="18" charset="0"/>
              </a:rPr>
              <a:t>Babić</a:t>
            </a:r>
            <a:r>
              <a:rPr lang="en-US" sz="1200" dirty="0">
                <a:latin typeface="Garamond" panose="02020404030301010803" pitchFamily="18" charset="0"/>
              </a:rPr>
              <a:t>, R., 2013. pH of precipitation in the area of the town of </a:t>
            </a:r>
            <a:r>
              <a:rPr lang="en-US" sz="1200" dirty="0" err="1">
                <a:latin typeface="Garamond" panose="02020404030301010803" pitchFamily="18" charset="0"/>
              </a:rPr>
              <a:t>Bijeljina</a:t>
            </a:r>
            <a:r>
              <a:rPr lang="en-US" sz="1200" dirty="0" smtClean="0">
                <a:latin typeface="Garamond" panose="02020404030301010803" pitchFamily="18" charset="0"/>
              </a:rPr>
              <a:t>.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The Taj Mahal — under Environmental and Political </a:t>
            </a:r>
            <a:r>
              <a:rPr lang="en-US" sz="1200" dirty="0" smtClean="0">
                <a:latin typeface="Garamond" panose="02020404030301010803" pitchFamily="18" charset="0"/>
              </a:rPr>
              <a:t>Threat, Medium </a:t>
            </a:r>
            <a:r>
              <a:rPr lang="en-US" sz="1200" dirty="0">
                <a:latin typeface="Garamond" panose="02020404030301010803" pitchFamily="18" charset="0"/>
              </a:rPr>
              <a:t>2018, [</a:t>
            </a:r>
            <a:r>
              <a:rPr lang="en-US" sz="1200" dirty="0">
                <a:latin typeface="Garamond" panose="02020404030301010803" pitchFamily="18" charset="0"/>
                <a:hlinkClick r:id="rId5"/>
              </a:rPr>
              <a:t>https://medium.com/the-naked-architect/the-taj-mahal-under-environmental-and-political-threat-7b3b8c4b7f6f</a:t>
            </a:r>
            <a:r>
              <a:rPr lang="en-US" sz="1200" dirty="0">
                <a:latin typeface="Garamond" panose="02020404030301010803" pitchFamily="18" charset="0"/>
              </a:rPr>
              <a:t>].</a:t>
            </a:r>
            <a:endParaRPr lang="en-US" sz="1200" dirty="0" smtClean="0">
              <a:latin typeface="Garamond" panose="02020404030301010803" pitchFamily="18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>
                <a:latin typeface="Garamond" panose="02020404030301010803" pitchFamily="18" charset="0"/>
              </a:rPr>
              <a:t>Acid Rain – Definition, Types, Causes, Effects, Examples</a:t>
            </a:r>
            <a:r>
              <a:rPr lang="en-US" sz="1200" dirty="0" smtClean="0">
                <a:latin typeface="Garamond" panose="02020404030301010803" pitchFamily="18" charset="0"/>
              </a:rPr>
              <a:t>., 2023, Adda-247 </a:t>
            </a:r>
            <a:r>
              <a:rPr lang="en-IN" sz="1200" dirty="0" smtClean="0">
                <a:latin typeface="Garamond" panose="02020404030301010803" pitchFamily="18" charset="0"/>
              </a:rPr>
              <a:t>[</a:t>
            </a:r>
            <a:r>
              <a:rPr lang="en-IN" sz="1200" dirty="0" smtClean="0">
                <a:latin typeface="Garamond" panose="02020404030301010803" pitchFamily="18" charset="0"/>
                <a:hlinkClick r:id="rId6"/>
              </a:rPr>
              <a:t>https</a:t>
            </a:r>
            <a:r>
              <a:rPr lang="en-IN" sz="1200" dirty="0">
                <a:latin typeface="Garamond" panose="02020404030301010803" pitchFamily="18" charset="0"/>
                <a:hlinkClick r:id="rId6"/>
              </a:rPr>
              <a:t>://www.adda247.com/school/acid-rain</a:t>
            </a:r>
            <a:r>
              <a:rPr lang="en-IN" sz="1200" dirty="0" smtClean="0">
                <a:latin typeface="Garamond" panose="02020404030301010803" pitchFamily="18" charset="0"/>
                <a:hlinkClick r:id="rId6"/>
              </a:rPr>
              <a:t>/</a:t>
            </a:r>
            <a:r>
              <a:rPr lang="en-IN" sz="1200" dirty="0" smtClean="0">
                <a:latin typeface="Garamond" panose="02020404030301010803" pitchFamily="18" charset="0"/>
              </a:rPr>
              <a:t>]</a:t>
            </a:r>
          </a:p>
          <a:p>
            <a:pPr marL="228600" lvl="0" indent="-228600">
              <a:buFont typeface="+mj-lt"/>
              <a:buAutoNum type="arabicPeriod"/>
            </a:pPr>
            <a:r>
              <a:rPr lang="en-US" sz="1200" dirty="0" smtClean="0">
                <a:latin typeface="Garamond" panose="02020404030301010803" pitchFamily="18" charset="0"/>
              </a:rPr>
              <a:t>Conversion Factors for Water Quality; KnowyourH2O</a:t>
            </a:r>
            <a:r>
              <a:rPr lang="en-US" sz="1200" dirty="0">
                <a:latin typeface="Garamond" panose="02020404030301010803" pitchFamily="18" charset="0"/>
              </a:rPr>
              <a:t> </a:t>
            </a:r>
            <a:endParaRPr lang="en-IN" sz="1200" dirty="0">
              <a:latin typeface="Garamond" panose="02020404030301010803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1713" y="419635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  <a:endParaRPr lang="en-IN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2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9042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754247" y="3051712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28</a:t>
            </a:fld>
            <a:endParaRPr lang="en-IN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6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01963" y="623105"/>
            <a:ext cx="58341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3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701963" y="1084770"/>
            <a:ext cx="10742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>
                <a:latin typeface="Garamond" panose="02020404030301010803" pitchFamily="18" charset="0"/>
              </a:rPr>
              <a:t>To model the acid rain precipitation data to obtain pH and various parameters using the models namely VMINTEQ V3.1 and Geochemist workbench (GWB Essentials 2023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>
                <a:latin typeface="Garamond" panose="02020404030301010803" pitchFamily="18" charset="0"/>
              </a:rPr>
              <a:t>To visualize the results obtained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37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13636" y="3691718"/>
            <a:ext cx="4833381" cy="258181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41713" y="419635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 : Acid rain</a:t>
            </a:r>
            <a:endParaRPr lang="en-IN" sz="2400" dirty="0"/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10574767" y="6117192"/>
            <a:ext cx="1359351" cy="156343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</a:t>
            </a:r>
            <a:r>
              <a:rPr kumimoji="0" lang="en-US" altLang="en-US" sz="1200" b="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Abbasi</a:t>
            </a: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 et al., 2013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3199" y="1008764"/>
            <a:ext cx="5133028" cy="3989433"/>
          </a:xfrm>
          <a:prstGeom prst="rect">
            <a:avLst/>
          </a:prstGeom>
        </p:spPr>
      </p:pic>
      <p:pic>
        <p:nvPicPr>
          <p:cNvPr id="2050" name="Picture 2" descr="pH Scale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436" y="419635"/>
            <a:ext cx="3610682" cy="3027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023199" y="4688315"/>
            <a:ext cx="1375756" cy="19565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</a:t>
            </a:r>
            <a:r>
              <a:rPr lang="en-US" altLang="en-US" sz="1100" dirty="0" smtClean="0">
                <a:solidFill>
                  <a:srgbClr val="002060"/>
                </a:solidFill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Prakash</a:t>
            </a:r>
            <a:r>
              <a:rPr kumimoji="0" lang="en-US" altLang="en-US" sz="11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 et al., 2022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4</a:t>
            </a:fld>
            <a:endParaRPr lang="en-IN"/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8323436" y="3380302"/>
            <a:ext cx="1227138" cy="228601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US EPA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6331" y="5125662"/>
            <a:ext cx="61586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Garamond" panose="02020404030301010803" pitchFamily="18" charset="0"/>
              </a:rPr>
              <a:t>Acid rain = wet deposi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Garamond" panose="02020404030301010803" pitchFamily="18" charset="0"/>
              </a:rPr>
              <a:t>Lakes, soil, bedrock can neutralize natural acid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Garamond" panose="02020404030301010803" pitchFamily="18" charset="0"/>
              </a:rPr>
              <a:t>Without any pollutants, pH ~ 5.6 (ambient conditions)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Garamond" panose="02020404030301010803" pitchFamily="18" charset="0"/>
              </a:rPr>
              <a:t>The pH can vary from 3 to 8 (and even more in worse condition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Garamond" panose="02020404030301010803" pitchFamily="18" charset="0"/>
              </a:rPr>
              <a:t>Can result in degradation of structures, bioaccumulation, etc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937005" y="1376218"/>
            <a:ext cx="2691577" cy="68349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4313382" y="1506285"/>
            <a:ext cx="5116945" cy="6166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081093" y="1874819"/>
            <a:ext cx="2317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Garamond" panose="02020404030301010803" pitchFamily="18" charset="0"/>
              </a:rPr>
              <a:t>pH &lt; 5.6, implies acid rain</a:t>
            </a:r>
          </a:p>
        </p:txBody>
      </p:sp>
      <p:sp>
        <p:nvSpPr>
          <p:cNvPr id="3" name="Oval 2"/>
          <p:cNvSpPr/>
          <p:nvPr/>
        </p:nvSpPr>
        <p:spPr>
          <a:xfrm>
            <a:off x="3478695" y="1814623"/>
            <a:ext cx="1391478" cy="1361661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21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Source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5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743314" y="858966"/>
            <a:ext cx="107012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buFont typeface="Wingdings" panose="05000000000000000000" pitchFamily="2" charset="2"/>
              <a:buChar char="§"/>
            </a:pPr>
            <a:r>
              <a:rPr lang="en-US" b="1" dirty="0" smtClean="0">
                <a:latin typeface="Garamond" panose="02020404030301010803" pitchFamily="18" charset="0"/>
              </a:rPr>
              <a:t>For </a:t>
            </a:r>
            <a:r>
              <a:rPr lang="en-US" b="1" dirty="0" smtClean="0">
                <a:latin typeface="Garamond" panose="02020404030301010803" pitchFamily="18" charset="0"/>
              </a:rPr>
              <a:t>precipitation </a:t>
            </a:r>
            <a:r>
              <a:rPr lang="en-US" b="1" dirty="0" smtClean="0">
                <a:latin typeface="Garamond" panose="02020404030301010803" pitchFamily="18" charset="0"/>
              </a:rPr>
              <a:t>data – </a:t>
            </a:r>
            <a:r>
              <a:rPr lang="en-US" dirty="0" smtClean="0">
                <a:latin typeface="Garamond" panose="02020404030301010803" pitchFamily="18" charset="0"/>
              </a:rPr>
              <a:t>Research paper titled, “Chemical characteristics and trends of </a:t>
            </a:r>
            <a:r>
              <a:rPr lang="en-US" dirty="0" err="1" smtClean="0">
                <a:latin typeface="Garamond" panose="02020404030301010803" pitchFamily="18" charset="0"/>
              </a:rPr>
              <a:t>indian</a:t>
            </a:r>
            <a:r>
              <a:rPr lang="en-US" dirty="0" smtClean="0">
                <a:latin typeface="Garamond" panose="02020404030301010803" pitchFamily="18" charset="0"/>
              </a:rPr>
              <a:t> summer monsoon rainfall: A review. Aerosol and Air Quality Research., AAQR”, by </a:t>
            </a:r>
            <a:r>
              <a:rPr lang="en-US" dirty="0" err="1" smtClean="0">
                <a:latin typeface="Garamond" panose="02020404030301010803" pitchFamily="18" charset="0"/>
              </a:rPr>
              <a:t>Majumdar</a:t>
            </a:r>
            <a:r>
              <a:rPr lang="en-US" dirty="0" smtClean="0">
                <a:latin typeface="Garamond" panose="02020404030301010803" pitchFamily="18" charset="0"/>
              </a:rPr>
              <a:t>, A., </a:t>
            </a:r>
            <a:r>
              <a:rPr lang="en-US" dirty="0" err="1" smtClean="0">
                <a:latin typeface="Garamond" panose="02020404030301010803" pitchFamily="18" charset="0"/>
              </a:rPr>
              <a:t>Samanta</a:t>
            </a:r>
            <a:r>
              <a:rPr lang="en-US" dirty="0" smtClean="0">
                <a:latin typeface="Garamond" panose="02020404030301010803" pitchFamily="18" charset="0"/>
              </a:rPr>
              <a:t>, D. and Das, R., 2022. [study area – Indian subcontinent </a:t>
            </a:r>
            <a:r>
              <a:rPr lang="en-US" dirty="0" smtClean="0">
                <a:latin typeface="Garamond" panose="02020404030301010803" pitchFamily="18" charset="0"/>
              </a:rPr>
              <a:t>(CNE, HILLY, NE, NW, PENINSULA, &amp; WC)]</a:t>
            </a:r>
            <a:endParaRPr lang="en-IN" dirty="0" smtClean="0">
              <a:latin typeface="Garamond" panose="02020404030301010803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b="1" dirty="0" smtClean="0">
                <a:latin typeface="Garamond" panose="02020404030301010803" pitchFamily="18" charset="0"/>
              </a:rPr>
              <a:t>For SO</a:t>
            </a:r>
            <a:r>
              <a:rPr lang="en-US" b="1" baseline="-25000" dirty="0" smtClean="0">
                <a:latin typeface="Garamond" panose="02020404030301010803" pitchFamily="18" charset="0"/>
              </a:rPr>
              <a:t>2</a:t>
            </a:r>
            <a:r>
              <a:rPr lang="en-US" b="1" dirty="0" smtClean="0">
                <a:latin typeface="Garamond" panose="02020404030301010803" pitchFamily="18" charset="0"/>
              </a:rPr>
              <a:t> –</a:t>
            </a:r>
            <a:r>
              <a:rPr lang="en-US" dirty="0" smtClean="0">
                <a:latin typeface="Garamond" panose="02020404030301010803" pitchFamily="18" charset="0"/>
              </a:rPr>
              <a:t> Sulfur dioxide (SO₂) concentration in ambient air in selected cities in India from 2001 to 2021, (Statista Search Department, 2024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b="1" dirty="0" smtClean="0">
                <a:latin typeface="Garamond" panose="02020404030301010803" pitchFamily="18" charset="0"/>
              </a:rPr>
              <a:t>For CO</a:t>
            </a:r>
            <a:r>
              <a:rPr lang="en-US" b="1" baseline="-25000" dirty="0" smtClean="0">
                <a:latin typeface="Garamond" panose="02020404030301010803" pitchFamily="18" charset="0"/>
              </a:rPr>
              <a:t>2</a:t>
            </a:r>
            <a:r>
              <a:rPr lang="en-US" b="1" dirty="0" smtClean="0">
                <a:latin typeface="Garamond" panose="02020404030301010803" pitchFamily="18" charset="0"/>
              </a:rPr>
              <a:t> –</a:t>
            </a:r>
            <a:r>
              <a:rPr lang="en-US" dirty="0" smtClean="0">
                <a:latin typeface="Garamond" panose="02020404030301010803" pitchFamily="18" charset="0"/>
              </a:rPr>
              <a:t> Research paper titled, “The increasing atmospheric CO2 over India: Comparison to global trends” by J. </a:t>
            </a:r>
            <a:r>
              <a:rPr lang="en-US" dirty="0" err="1" smtClean="0">
                <a:latin typeface="Garamond" panose="02020404030301010803" pitchFamily="18" charset="0"/>
              </a:rPr>
              <a:t>Kuttippurath</a:t>
            </a:r>
            <a:r>
              <a:rPr lang="en-US" dirty="0" smtClean="0">
                <a:latin typeface="Garamond" panose="02020404030301010803" pitchFamily="18" charset="0"/>
              </a:rPr>
              <a:t> and </a:t>
            </a:r>
            <a:r>
              <a:rPr lang="en-US" dirty="0" smtClean="0">
                <a:latin typeface="Garamond" panose="02020404030301010803" pitchFamily="18" charset="0"/>
              </a:rPr>
              <a:t>others, 2022{involves </a:t>
            </a:r>
            <a:r>
              <a:rPr lang="en-US" dirty="0" smtClean="0">
                <a:latin typeface="Garamond" panose="02020404030301010803" pitchFamily="18" charset="0"/>
              </a:rPr>
              <a:t>use of satellite data </a:t>
            </a:r>
            <a:r>
              <a:rPr lang="en-US" b="1" dirty="0" smtClean="0">
                <a:latin typeface="Garamond" panose="02020404030301010803" pitchFamily="18" charset="0"/>
              </a:rPr>
              <a:t>SCIAMACHY SCIA(2002-2012), AIRS (2002-2007), GOSAT (2009-2020) and OCO-2 (2014-2020)</a:t>
            </a:r>
            <a:r>
              <a:rPr lang="en-US" dirty="0" smtClean="0">
                <a:latin typeface="Garamond" panose="02020404030301010803" pitchFamily="18" charset="0"/>
              </a:rPr>
              <a:t>}</a:t>
            </a:r>
            <a:endParaRPr lang="en-US" dirty="0">
              <a:latin typeface="Garamond" panose="02020404030301010803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5806" y="3420014"/>
            <a:ext cx="2863892" cy="290823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170" y="3421998"/>
            <a:ext cx="2485468" cy="2904264"/>
          </a:xfrm>
          <a:prstGeom prst="rect">
            <a:avLst/>
          </a:prstGeom>
        </p:spPr>
      </p:pic>
      <p:pic>
        <p:nvPicPr>
          <p:cNvPr id="1026" name="Picture 2" descr="File:Statista logo.sv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867" y="4510841"/>
            <a:ext cx="3524933" cy="722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627600" y="6424611"/>
            <a:ext cx="10452775" cy="296864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</a:t>
            </a:r>
            <a:r>
              <a:rPr lang="en-US" altLang="en-US" sz="1200" b="1" dirty="0" err="1" smtClean="0">
                <a:solidFill>
                  <a:srgbClr val="002060"/>
                </a:solidFill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Majumdar</a:t>
            </a: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 et al., (2022),</a:t>
            </a:r>
            <a:r>
              <a:rPr kumimoji="0" lang="en-US" altLang="en-US" sz="1200" b="1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 </a:t>
            </a:r>
            <a:r>
              <a:rPr kumimoji="0" lang="en-US" altLang="en-US" sz="1200" b="1" i="0" u="none" strike="noStrike" cap="none" normalizeH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Kuttippurath</a:t>
            </a:r>
            <a:r>
              <a:rPr kumimoji="0" lang="en-US" altLang="en-US" sz="1200" b="1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 et al., (2022), and Statista Search Department, (2024) </a:t>
            </a: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1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handling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6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652546" y="1003485"/>
            <a:ext cx="1070125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its of species concentration data were converted to mg/L from </a:t>
            </a:r>
            <a:r>
              <a:rPr lang="el-G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μ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q./L for usage in models</a:t>
            </a:r>
          </a:p>
          <a:p>
            <a:pPr lvl="7" algn="just"/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meq/L = [(mg/L x molar mass)/ valency]</a:t>
            </a:r>
          </a:p>
          <a:p>
            <a:pPr lvl="3" algn="just"/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, </a:t>
            </a:r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q/L = </a:t>
            </a:r>
            <a:r>
              <a:rPr lang="el-GR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</a:t>
            </a:r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q./L  x 10</a:t>
            </a:r>
            <a:r>
              <a:rPr lang="en-US" sz="2000" b="1" baseline="300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3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laced missing data with that of average concentration value of the same region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deal gas equation used for conversion of partial pressure of CO</a:t>
            </a:r>
            <a:r>
              <a:rPr lang="en-US" sz="2000" baseline="-25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nd SO</a:t>
            </a:r>
            <a:r>
              <a:rPr lang="en-US" sz="2000" baseline="-25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rom ppm to atm.</a:t>
            </a:r>
          </a:p>
          <a:p>
            <a:pPr algn="just"/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		i.e.   </a:t>
            </a:r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V = </a:t>
            </a:r>
            <a:r>
              <a:rPr lang="en-US" sz="2000" b="1" dirty="0" err="1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RT</a:t>
            </a:r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P = (n/V) x R x T or </a:t>
            </a:r>
          </a:p>
          <a:p>
            <a:pPr lvl="7" algn="just"/>
            <a:r>
              <a:rPr lang="en-US" sz="20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P = CRT    </a:t>
            </a:r>
          </a:p>
          <a:p>
            <a:pPr marL="6013450" lvl="8" algn="just"/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re,  P = partial pressure of gas</a:t>
            </a:r>
          </a:p>
          <a:p>
            <a:pPr marL="6013450" lvl="8" algn="just"/>
            <a:r>
              <a:rPr lang="en-US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C = concentration of species</a:t>
            </a:r>
          </a:p>
          <a:p>
            <a:pPr marL="6013450" lvl="8" algn="just"/>
            <a:r>
              <a:rPr lang="en-US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T = temperature in kelvin</a:t>
            </a:r>
          </a:p>
          <a:p>
            <a:pPr marL="6013450" lvl="8" algn="just"/>
            <a:r>
              <a:rPr lang="en-US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R = Universal gas constant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it conversion were taken care of : use of mg, L, atm., K, mol. 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nly those year data were taken into account which has corresponding partial pressure in same year (17 out of 57 samples used in VMINTEQ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0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</a:t>
            </a:r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rmation</a:t>
            </a:r>
            <a:endParaRPr lang="en-US" sz="24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7</a:t>
            </a:fld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652547" y="1374349"/>
            <a:ext cx="1070125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entire dataset of India : total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2 precipitation data acidic out of 57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with mean pH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96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acidic precipitation) and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.06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entire dataset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region 1 :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out of 7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tries indicated acidic precipitation with mean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.16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ion 2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ut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trie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icated acidic precipitation with mean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67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regio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ut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trie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icated acidic precipitation with mean 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99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region 4 :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ut of 6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ries indicated acidic precipitation with mea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65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region 5 :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ut of 5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ries indicated acidic precipitation with mea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43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region 6 :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 out of 14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trie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icated acidic precipitation with mea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.21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14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2547" y="405788"/>
            <a:ext cx="61481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sumptions</a:t>
            </a:r>
            <a:endParaRPr lang="en-IN" sz="24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277F61-50E4-41FD-9A2E-00655EC6A127}" type="slidenum">
              <a:rPr lang="en-IN" smtClean="0"/>
              <a:t>8</a:t>
            </a:fld>
            <a:endParaRPr lang="en-IN" dirty="0"/>
          </a:p>
        </p:txBody>
      </p:sp>
      <p:sp>
        <p:nvSpPr>
          <p:cNvPr id="27" name="TextBox 26"/>
          <p:cNvSpPr txBox="1"/>
          <p:nvPr/>
        </p:nvSpPr>
        <p:spPr>
          <a:xfrm>
            <a:off x="652547" y="867453"/>
            <a:ext cx="1070125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b="1" dirty="0" smtClean="0">
                <a:latin typeface="Garamond" panose="02020404030301010803" pitchFamily="18" charset="0"/>
              </a:rPr>
              <a:t>Only SO2 and CO2 gaseous partial pressure taken into account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b="1" dirty="0" smtClean="0">
                <a:latin typeface="Garamond" panose="02020404030301010803" pitchFamily="18" charset="0"/>
              </a:rPr>
              <a:t>Various </a:t>
            </a:r>
            <a:r>
              <a:rPr lang="en-US" sz="2000" b="1" dirty="0" smtClean="0">
                <a:latin typeface="Garamond" panose="02020404030301010803" pitchFamily="18" charset="0"/>
              </a:rPr>
              <a:t>conditions : </a:t>
            </a:r>
            <a:endParaRPr lang="en-US" sz="2000" b="1" dirty="0" smtClean="0">
              <a:latin typeface="Garamond" panose="02020404030301010803" pitchFamily="18" charset="0"/>
            </a:endParaRPr>
          </a:p>
          <a:p>
            <a:pPr marL="857250" lvl="1" indent="-400050" algn="just">
              <a:buFont typeface="+mj-lt"/>
              <a:buAutoNum type="romanUcPeriod"/>
            </a:pPr>
            <a:r>
              <a:rPr lang="en-US" sz="2000" b="1" dirty="0" smtClean="0">
                <a:latin typeface="Garamond" panose="02020404030301010803" pitchFamily="18" charset="0"/>
              </a:rPr>
              <a:t>Ideal </a:t>
            </a:r>
            <a:r>
              <a:rPr lang="en-US" sz="2000" b="1" dirty="0" smtClean="0">
                <a:latin typeface="Garamond" panose="02020404030301010803" pitchFamily="18" charset="0"/>
              </a:rPr>
              <a:t>(when there are no pollutants addition and gas-particle interaction</a:t>
            </a:r>
            <a:r>
              <a:rPr lang="en-US" sz="2000" b="1" dirty="0" smtClean="0">
                <a:latin typeface="Garamond" panose="02020404030301010803" pitchFamily="18" charset="0"/>
              </a:rPr>
              <a:t>), </a:t>
            </a:r>
          </a:p>
          <a:p>
            <a:pPr marL="857250" lvl="1" indent="-400050" algn="just">
              <a:buFont typeface="+mj-lt"/>
              <a:buAutoNum type="romanUcPeriod"/>
            </a:pPr>
            <a:r>
              <a:rPr lang="en-US" sz="2000" b="1" dirty="0">
                <a:latin typeface="Garamond" panose="02020404030301010803" pitchFamily="18" charset="0"/>
              </a:rPr>
              <a:t>M</a:t>
            </a:r>
            <a:r>
              <a:rPr lang="en-US" sz="2000" b="1" dirty="0" smtClean="0">
                <a:latin typeface="Garamond" panose="02020404030301010803" pitchFamily="18" charset="0"/>
              </a:rPr>
              <a:t>eteoric condition and  </a:t>
            </a:r>
          </a:p>
          <a:p>
            <a:pPr marL="857250" lvl="1" indent="-400050" algn="just">
              <a:buFont typeface="+mj-lt"/>
              <a:buAutoNum type="romanUcPeriod"/>
            </a:pPr>
            <a:r>
              <a:rPr lang="en-US" sz="2000" b="1" dirty="0">
                <a:latin typeface="Garamond" panose="02020404030301010803" pitchFamily="18" charset="0"/>
              </a:rPr>
              <a:t>P</a:t>
            </a:r>
            <a:r>
              <a:rPr lang="en-US" sz="2000" b="1" dirty="0" smtClean="0">
                <a:latin typeface="Garamond" panose="02020404030301010803" pitchFamily="18" charset="0"/>
              </a:rPr>
              <a:t>olluted condition (when CO2 and SO2 partial pressure is there in the atmosphere)</a:t>
            </a:r>
            <a:endParaRPr lang="en-US" sz="2000" b="1" dirty="0" smtClean="0">
              <a:latin typeface="Garamond" panose="02020404030301010803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b="1" dirty="0">
                <a:latin typeface="Garamond" panose="02020404030301010803" pitchFamily="18" charset="0"/>
              </a:rPr>
              <a:t>For VMINTEQ and PHREEQ-C unit used for </a:t>
            </a:r>
            <a:r>
              <a:rPr lang="en-US" sz="2000" b="1" dirty="0" smtClean="0">
                <a:latin typeface="Garamond" panose="02020404030301010803" pitchFamily="18" charset="0"/>
              </a:rPr>
              <a:t>conc. </a:t>
            </a:r>
            <a:r>
              <a:rPr lang="en-US" sz="2000" b="1" dirty="0">
                <a:latin typeface="Garamond" panose="02020404030301010803" pitchFamily="18" charset="0"/>
              </a:rPr>
              <a:t>is mg/L whereas for GWB it is </a:t>
            </a:r>
            <a:r>
              <a:rPr lang="el-G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</a:t>
            </a:r>
            <a:r>
              <a:rPr lang="en-US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q</a:t>
            </a:r>
            <a:r>
              <a:rPr lang="en-US" sz="2000" b="1" dirty="0" smtClean="0">
                <a:latin typeface="Garamond" panose="02020404030301010803" pitchFamily="18" charset="0"/>
              </a:rPr>
              <a:t>/L</a:t>
            </a:r>
            <a:endParaRPr lang="en-US" sz="2000" b="1" dirty="0">
              <a:latin typeface="Garamond" panose="02020404030301010803" pitchFamily="18" charset="0"/>
            </a:endParaRP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b="1" dirty="0" smtClean="0">
                <a:latin typeface="Garamond" panose="02020404030301010803" pitchFamily="18" charset="0"/>
              </a:rPr>
              <a:t>    From </a:t>
            </a:r>
            <a:r>
              <a:rPr lang="en-US" sz="2000" b="1" dirty="0">
                <a:latin typeface="Garamond" panose="02020404030301010803" pitchFamily="18" charset="0"/>
              </a:rPr>
              <a:t>(</a:t>
            </a:r>
            <a:r>
              <a:rPr lang="en-US" sz="2000" b="1" dirty="0" smtClean="0">
                <a:latin typeface="Garamond" panose="02020404030301010803" pitchFamily="18" charset="0"/>
              </a:rPr>
              <a:t>2001-2004) </a:t>
            </a:r>
            <a:r>
              <a:rPr lang="en-US" sz="2000" b="1" dirty="0">
                <a:latin typeface="Garamond" panose="02020404030301010803" pitchFamily="18" charset="0"/>
              </a:rPr>
              <a:t>- July-sept Monsoon (JJAS), AIRS (2002-2017 data)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b="1" dirty="0">
                <a:latin typeface="Garamond" panose="02020404030301010803" pitchFamily="18" charset="0"/>
              </a:rPr>
              <a:t>    From (2008-2009) - July-sept Monsoon (JJAS), GOSAT (2009-2020 data)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b="1" dirty="0">
                <a:latin typeface="Garamond" panose="02020404030301010803" pitchFamily="18" charset="0"/>
              </a:rPr>
              <a:t>    From (2012-2021) - July-sept Monsoon (JJAS), OCO-2 (2014-2020 data</a:t>
            </a:r>
            <a:r>
              <a:rPr lang="en-US" sz="2000" b="1" dirty="0" smtClean="0">
                <a:latin typeface="Garamond" panose="02020404030301010803" pitchFamily="18" charset="0"/>
              </a:rPr>
              <a:t>) {</a:t>
            </a:r>
            <a:r>
              <a:rPr lang="en-US" sz="2000" b="1" dirty="0">
                <a:latin typeface="Garamond" panose="02020404030301010803" pitchFamily="18" charset="0"/>
              </a:rPr>
              <a:t>as per paper lowest among all seasons</a:t>
            </a:r>
            <a:r>
              <a:rPr lang="en-US" sz="2000" b="1" dirty="0" smtClean="0">
                <a:latin typeface="Garamond" panose="02020404030301010803" pitchFamily="18" charset="0"/>
              </a:rPr>
              <a:t>}</a:t>
            </a:r>
          </a:p>
          <a:p>
            <a:pPr lvl="2" algn="just"/>
            <a:endParaRPr lang="en-US" sz="2000" b="1" dirty="0">
              <a:latin typeface="Garamond" panose="02020404030301010803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b="1" dirty="0" smtClean="0">
                <a:latin typeface="Garamond" panose="02020404030301010803" pitchFamily="18" charset="0"/>
              </a:rPr>
              <a:t>Usage of the </a:t>
            </a:r>
            <a:r>
              <a:rPr lang="en-US" sz="2000" b="1" dirty="0">
                <a:latin typeface="Garamond" panose="02020404030301010803" pitchFamily="18" charset="0"/>
              </a:rPr>
              <a:t>average partial pressure data for the values of </a:t>
            </a:r>
            <a:r>
              <a:rPr lang="en-US" sz="2000" b="1" dirty="0" smtClean="0">
                <a:latin typeface="Garamond" panose="02020404030301010803" pitchFamily="18" charset="0"/>
              </a:rPr>
              <a:t>region wise missing </a:t>
            </a:r>
            <a:r>
              <a:rPr lang="en-US" sz="2000" b="1" dirty="0">
                <a:latin typeface="Garamond" panose="02020404030301010803" pitchFamily="18" charset="0"/>
              </a:rPr>
              <a:t>partial </a:t>
            </a:r>
            <a:r>
              <a:rPr lang="en-US" sz="2000" b="1" dirty="0" smtClean="0">
                <a:latin typeface="Garamond" panose="02020404030301010803" pitchFamily="18" charset="0"/>
              </a:rPr>
              <a:t>pressure data. (i.e. for the HILLY region average value is used)</a:t>
            </a:r>
            <a:endParaRPr lang="en-US" sz="2000" b="1" dirty="0" smtClean="0">
              <a:latin typeface="Garamond" panose="02020404030301010803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4528" y="4960881"/>
            <a:ext cx="5197290" cy="134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22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1923" y="383996"/>
            <a:ext cx="99008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 - pH calculation using VMINTEQ</a:t>
            </a:r>
            <a:endParaRPr lang="en-IN" sz="2400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8277F61-50E4-41FD-9A2E-00655EC6A127}" type="slidenum">
              <a:rPr lang="en-IN" smtClean="0"/>
              <a:t>9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8860469" y="845661"/>
            <a:ext cx="2979019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We have conc. In </a:t>
            </a:r>
            <a:r>
              <a:rPr lang="en-US" sz="1600" b="1" dirty="0" err="1" smtClean="0">
                <a:latin typeface="Garamond" panose="02020404030301010803" pitchFamily="18" charset="0"/>
              </a:rPr>
              <a:t>ueq</a:t>
            </a:r>
            <a:r>
              <a:rPr lang="en-US" sz="1600" b="1" dirty="0" smtClean="0">
                <a:latin typeface="Garamond" panose="02020404030301010803" pitchFamily="18" charset="0"/>
              </a:rPr>
              <a:t>./L which I converted in mg/L to input into the model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600" b="1" dirty="0" smtClean="0">
                <a:latin typeface="Garamond" panose="02020404030301010803" pitchFamily="18" charset="0"/>
              </a:rPr>
              <a:t>Species are added in the table under ambient, meteoric and under polluted condition.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600" b="1" dirty="0" smtClean="0">
              <a:latin typeface="Garamond" panose="02020404030301010803" pitchFamily="18" charset="0"/>
            </a:endParaRPr>
          </a:p>
          <a:p>
            <a:pPr algn="just"/>
            <a:endParaRPr lang="en-US" sz="1600" b="1" dirty="0" smtClean="0">
              <a:latin typeface="Garamond" panose="02020404030301010803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4567" y="55625"/>
            <a:ext cx="570134" cy="350163"/>
          </a:xfrm>
          <a:prstGeom prst="rect">
            <a:avLst/>
          </a:prstGeom>
        </p:spPr>
      </p:pic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64741" y="6188722"/>
            <a:ext cx="3543841" cy="274678"/>
          </a:xfrm>
          <a:prstGeom prst="rect">
            <a:avLst/>
          </a:prstGeom>
          <a:noFill/>
          <a:ln w="9525">
            <a:solidFill>
              <a:srgbClr val="000000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Garamond" panose="02020404030301010803" pitchFamily="18" charset="0"/>
                <a:ea typeface="Arial" panose="020B0604020202020204" pitchFamily="34" charset="0"/>
                <a:cs typeface="Mangal"/>
              </a:rPr>
              <a:t>(VMINTEQ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4103" y="897764"/>
            <a:ext cx="4124147" cy="2740504"/>
          </a:xfrm>
          <a:prstGeom prst="rect">
            <a:avLst/>
          </a:prstGeom>
        </p:spPr>
      </p:pic>
      <p:cxnSp>
        <p:nvCxnSpPr>
          <p:cNvPr id="9" name="Straight Arrow Connector 8"/>
          <p:cNvCxnSpPr>
            <a:stCxn id="6" idx="3"/>
            <a:endCxn id="2" idx="1"/>
          </p:cNvCxnSpPr>
          <p:nvPr/>
        </p:nvCxnSpPr>
        <p:spPr>
          <a:xfrm>
            <a:off x="4160974" y="2026990"/>
            <a:ext cx="433129" cy="241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137" y="3090487"/>
            <a:ext cx="3383699" cy="2429116"/>
          </a:xfrm>
          <a:prstGeom prst="rect">
            <a:avLst/>
          </a:prstGeom>
        </p:spPr>
      </p:pic>
      <p:cxnSp>
        <p:nvCxnSpPr>
          <p:cNvPr id="21" name="Straight Arrow Connector 20"/>
          <p:cNvCxnSpPr>
            <a:endCxn id="19" idx="3"/>
          </p:cNvCxnSpPr>
          <p:nvPr/>
        </p:nvCxnSpPr>
        <p:spPr>
          <a:xfrm flipH="1">
            <a:off x="3920836" y="3090487"/>
            <a:ext cx="1282250" cy="12145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131452" y="2333210"/>
            <a:ext cx="24243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Species conc. Data in mg/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977771" y="3382444"/>
            <a:ext cx="24243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Species addit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37137" y="5519603"/>
            <a:ext cx="347144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pH calculation by model under ambient, meteoric and polluted environment is noted and is verified against actual pH in the data</a:t>
            </a:r>
          </a:p>
        </p:txBody>
      </p:sp>
      <p:sp>
        <p:nvSpPr>
          <p:cNvPr id="28" name="Oval 27"/>
          <p:cNvSpPr/>
          <p:nvPr/>
        </p:nvSpPr>
        <p:spPr>
          <a:xfrm>
            <a:off x="896676" y="3314970"/>
            <a:ext cx="776590" cy="427569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5488" y="4020194"/>
            <a:ext cx="3533463" cy="2447124"/>
          </a:xfrm>
          <a:prstGeom prst="rect">
            <a:avLst/>
          </a:prstGeom>
        </p:spPr>
      </p:pic>
      <p:cxnSp>
        <p:nvCxnSpPr>
          <p:cNvPr id="30" name="Straight Arrow Connector 29"/>
          <p:cNvCxnSpPr>
            <a:stCxn id="26" idx="2"/>
          </p:cNvCxnSpPr>
          <p:nvPr/>
        </p:nvCxnSpPr>
        <p:spPr>
          <a:xfrm flipH="1">
            <a:off x="6020214" y="3628665"/>
            <a:ext cx="1169717" cy="4978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970694" y="6467318"/>
            <a:ext cx="24738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Mineral precipitation data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6362" y="3849726"/>
            <a:ext cx="3658339" cy="2560056"/>
          </a:xfrm>
          <a:prstGeom prst="rect">
            <a:avLst/>
          </a:prstGeom>
        </p:spPr>
      </p:pic>
      <p:cxnSp>
        <p:nvCxnSpPr>
          <p:cNvPr id="42" name="Straight Arrow Connector 41"/>
          <p:cNvCxnSpPr>
            <a:stCxn id="26" idx="2"/>
            <a:endCxn id="39" idx="0"/>
          </p:cNvCxnSpPr>
          <p:nvPr/>
        </p:nvCxnSpPr>
        <p:spPr>
          <a:xfrm>
            <a:off x="7189931" y="3628665"/>
            <a:ext cx="2995601" cy="2210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9365672" y="6396012"/>
            <a:ext cx="24738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600" dirty="0" smtClean="0">
                <a:latin typeface="Garamond" panose="02020404030301010803" pitchFamily="18" charset="0"/>
              </a:rPr>
              <a:t>Species at this pH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756" y="853607"/>
            <a:ext cx="3827713" cy="1471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05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EA6BC9F_C476_4B74_A7E8_6BA87AB843B5&quot;,&quot;SourceFullName&quot;:&quot;C:\\Users\\anand\\Downloads\\CE520Project\\VMINTEQ\\acid_rain_phdata.xlsx&quot;,&quot;LastUpdate&quot;:&quot;2024-05-22 7:46 AM&quot;,&quot;UpdatedBy&quot;:&quot;anand&quot;,&quot;IsLinked&quot;:false,&quot;IsBrokenLink&quot;:tru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27C845B_44B1_4EEA_89A4_1059E79308E9&quot;,&quot;SourceFullName&quot;:&quot;&quot;,&quot;LastUpdate&quot;:&quot;2024-05-22 1:24 PM&quot;,&quot;UpdatedBy&quot;:&quot;anand&quot;,&quot;IsLinked&quot;:false,&quot;IsBrokenLink&quot;:false,&quot;Type&quot;:2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69EDB05_9898_4392_A7DD_4C7B60F78D19&quot;,&quot;SourceFullName&quot;:&quot;&quot;,&quot;LastUpdate&quot;:&quot;2024-05-22 2:15 PM&quot;,&quot;UpdatedBy&quot;:&quot;anand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9797B15_27FE_4845_9740_63EE475855BA&quot;,&quot;SourceFullName&quot;:&quot;C:\\Users\\anand\\Downloads\\CE520Project\\VMINTEQ\\acid_rain_phdata.xlsx&quot;,&quot;LastUpdate&quot;:&quot;2024-05-22 7:52 AM&quot;,&quot;UpdatedBy&quot;:&quot;anand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4495DBF_A887_446F_9D07_D195F1D562E8&quot;,&quot;SourceFullName&quot;:&quot;C:\\Users\\anand\\Downloads\\CE520Project\\VMINTEQ\\acid_rain_phdata.xlsx&quot;,&quot;LastUpdate&quot;:&quot;2024-05-22 7:52 AM&quot;,&quot;UpdatedBy&quot;:&quot;anand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7A0769B_2C9B_4728_A701_BD67581B556B&quot;,&quot;SourceFullName&quot;:&quot;C:\\Users\\anand\\Downloads\\CE520Project\\VMINTEQ\\acid_rain_phdata.xlsx&quot;,&quot;LastUpdate&quot;:&quot;2024-05-22 7:52 AM&quot;,&quot;UpdatedBy&quot;:&quot;anand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3F2FA4A_A920_4833_8F8D_FE1535C1528E&quot;,&quot;SourceFullName&quot;:&quot;C:\\Users\\anand\\Downloads\\CE520Project\\VMINTEQ\\acid_rain_phdata.xlsx&quot;,&quot;LastUpdate&quot;:&quot;2024-05-22 8:13 AM&quot;,&quot;UpdatedBy&quot;:&quot;anand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</TotalTime>
  <Words>3285</Words>
  <Application>Microsoft Office PowerPoint</Application>
  <PresentationFormat>Widescreen</PresentationFormat>
  <Paragraphs>1333</Paragraphs>
  <Slides>2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Garamond</vt:lpstr>
      <vt:lpstr>Mangal</vt:lpstr>
      <vt:lpstr>Times New Roman</vt:lpstr>
      <vt:lpstr>Wingdings</vt:lpstr>
      <vt:lpstr>Office Theme</vt:lpstr>
      <vt:lpstr> Modeling acid rain pH variations in India  End Semester Project Presentation Environmental Reaction Modelling (CE-520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Modeling acid rain pH variations in India  End Semester Project Presentation Environmental Reaction Modelling (CE-520)</dc:title>
  <dc:creator>Anand Prabhakar</dc:creator>
  <cp:lastModifiedBy>Anand Prabhakar</cp:lastModifiedBy>
  <cp:revision>119</cp:revision>
  <dcterms:created xsi:type="dcterms:W3CDTF">2024-05-21T17:04:00Z</dcterms:created>
  <dcterms:modified xsi:type="dcterms:W3CDTF">2024-05-22T11:29:51Z</dcterms:modified>
</cp:coreProperties>
</file>